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73" r:id="rId1"/>
    <p:sldMasterId id="2147483721" r:id="rId2"/>
    <p:sldMasterId id="2147483711" r:id="rId3"/>
    <p:sldMasterId id="2147483732" r:id="rId4"/>
  </p:sldMasterIdLst>
  <p:notesMasterIdLst>
    <p:notesMasterId r:id="rId27"/>
  </p:notesMasterIdLst>
  <p:handoutMasterIdLst>
    <p:handoutMasterId r:id="rId28"/>
  </p:handoutMasterIdLst>
  <p:sldIdLst>
    <p:sldId id="378" r:id="rId5"/>
    <p:sldId id="831" r:id="rId6"/>
    <p:sldId id="834" r:id="rId7"/>
    <p:sldId id="835" r:id="rId8"/>
    <p:sldId id="836" r:id="rId9"/>
    <p:sldId id="838" r:id="rId10"/>
    <p:sldId id="839" r:id="rId11"/>
    <p:sldId id="837" r:id="rId12"/>
    <p:sldId id="840" r:id="rId13"/>
    <p:sldId id="841" r:id="rId14"/>
    <p:sldId id="842" r:id="rId15"/>
    <p:sldId id="845" r:id="rId16"/>
    <p:sldId id="844" r:id="rId17"/>
    <p:sldId id="847" r:id="rId18"/>
    <p:sldId id="848" r:id="rId19"/>
    <p:sldId id="849" r:id="rId20"/>
    <p:sldId id="846" r:id="rId21"/>
    <p:sldId id="850" r:id="rId22"/>
    <p:sldId id="851" r:id="rId23"/>
    <p:sldId id="843" r:id="rId24"/>
    <p:sldId id="830" r:id="rId25"/>
    <p:sldId id="833" r:id="rId26"/>
  </p:sldIdLst>
  <p:sldSz cx="12190413" cy="6858000"/>
  <p:notesSz cx="6669088" cy="9926638"/>
  <p:embeddedFontLst>
    <p:embeddedFont>
      <p:font typeface="Aptos" panose="020B0004020202020204" pitchFamily="34" charset="0"/>
      <p:regular r:id="rId29"/>
      <p:bold r:id="rId30"/>
      <p:italic r:id="rId31"/>
      <p:boldItalic r:id="rId32"/>
    </p:embeddedFont>
    <p:embeddedFont>
      <p:font typeface="Aptos ExtraBold" panose="020B0004020202020204" pitchFamily="34" charset="0"/>
      <p:bold r:id="rId33"/>
      <p:boldItalic r:id="rId34"/>
    </p:embeddedFont>
    <p:embeddedFont>
      <p:font typeface="Aptos Light" panose="020B0004020202020204" pitchFamily="34" charset="0"/>
      <p:regular r:id="rId35"/>
      <p:italic r:id="rId36"/>
    </p:embeddedFont>
    <p:embeddedFont>
      <p:font typeface="Aptos Mono" panose="020B0009020202020204" pitchFamily="49" charset="0"/>
      <p:regular r:id="rId37"/>
      <p:bold r:id="rId38"/>
      <p:italic r:id="rId39"/>
      <p:boldItalic r:id="rId40"/>
    </p:embeddedFont>
    <p:embeddedFont>
      <p:font typeface="Calibri Light" panose="020F0302020204030204" pitchFamily="34" charset="0"/>
      <p:regular r:id="rId41"/>
      <p:italic r:id="rId42"/>
    </p:embeddedFont>
    <p:embeddedFont>
      <p:font typeface="Microsoft YaHei" panose="020B0503020204020204" pitchFamily="34" charset="-122"/>
      <p:regular r:id="rId43"/>
      <p:bold r:id="rId44"/>
    </p:embeddedFont>
  </p:embeddedFontLst>
  <p:custDataLst>
    <p:tags r:id="rId45"/>
  </p:custDataLst>
  <p:defaultTextStyle>
    <a:defPPr>
      <a:defRPr lang="de-DE"/>
    </a:defPPr>
    <a:lvl1pPr marL="0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018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035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054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069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086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104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6138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B77E98E4-12B4-48D4-92E5-9443B9DC8E55}">
          <p14:sldIdLst>
            <p14:sldId id="378"/>
          </p14:sldIdLst>
        </p14:section>
        <p14:section name="SECTION 1" id="{7911D283-A686-4769-9901-E0F1E794CE5A}">
          <p14:sldIdLst>
            <p14:sldId id="831"/>
            <p14:sldId id="834"/>
            <p14:sldId id="835"/>
            <p14:sldId id="836"/>
            <p14:sldId id="838"/>
            <p14:sldId id="839"/>
            <p14:sldId id="837"/>
            <p14:sldId id="840"/>
            <p14:sldId id="841"/>
            <p14:sldId id="842"/>
            <p14:sldId id="845"/>
            <p14:sldId id="844"/>
            <p14:sldId id="847"/>
            <p14:sldId id="848"/>
            <p14:sldId id="849"/>
            <p14:sldId id="846"/>
            <p14:sldId id="850"/>
            <p14:sldId id="851"/>
            <p14:sldId id="843"/>
          </p14:sldIdLst>
        </p14:section>
        <p14:section name="FINAL" id="{2475EA1E-BCBB-44E6-B271-402CD384091F}">
          <p14:sldIdLst>
            <p14:sldId id="830"/>
            <p14:sldId id="83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81" userDrawn="1">
          <p15:clr>
            <a:srgbClr val="A4A3A4"/>
          </p15:clr>
        </p15:guide>
        <p15:guide id="2" pos="338" userDrawn="1">
          <p15:clr>
            <a:srgbClr val="A4A3A4"/>
          </p15:clr>
        </p15:guide>
        <p15:guide id="3" orient="horz" pos="3657" userDrawn="1">
          <p15:clr>
            <a:srgbClr val="A4A3A4"/>
          </p15:clr>
        </p15:guide>
        <p15:guide id="4" pos="7339" userDrawn="1">
          <p15:clr>
            <a:srgbClr val="A4A3A4"/>
          </p15:clr>
        </p15:guide>
        <p15:guide id="5" orient="horz">
          <p15:clr>
            <a:srgbClr val="A4A3A4"/>
          </p15:clr>
        </p15:guide>
        <p15:guide id="6">
          <p15:clr>
            <a:srgbClr val="A4A3A4"/>
          </p15:clr>
        </p15:guide>
        <p15:guide id="7" orient="horz" pos="984">
          <p15:clr>
            <a:srgbClr val="A4A3A4"/>
          </p15:clr>
        </p15:guide>
        <p15:guide id="8" pos="349">
          <p15:clr>
            <a:srgbClr val="A4A3A4"/>
          </p15:clr>
        </p15:guide>
        <p15:guide id="9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E6E6"/>
    <a:srgbClr val="F8F8F8"/>
    <a:srgbClr val="DEDEDE"/>
    <a:srgbClr val="CFCFCF"/>
    <a:srgbClr val="F2F2F2"/>
    <a:srgbClr val="EAEAEA"/>
    <a:srgbClr val="000000"/>
    <a:srgbClr val="404040"/>
    <a:srgbClr val="D9D9D9"/>
    <a:srgbClr val="FF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05DCB96-06D3-48B1-8E32-01D11441D081}" v="44" dt="2024-01-30T09:22:52.0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8856" autoAdjust="0"/>
  </p:normalViewPr>
  <p:slideViewPr>
    <p:cSldViewPr snapToGrid="0" snapToObjects="1" showGuides="1">
      <p:cViewPr varScale="1">
        <p:scale>
          <a:sx n="150" d="100"/>
          <a:sy n="150" d="100"/>
        </p:scale>
        <p:origin x="72" y="120"/>
      </p:cViewPr>
      <p:guideLst>
        <p:guide orient="horz" pos="981"/>
        <p:guide pos="338"/>
        <p:guide orient="horz" pos="3657"/>
        <p:guide pos="7339"/>
        <p:guide orient="horz"/>
        <p:guide/>
        <p:guide orient="horz" pos="984"/>
        <p:guide pos="349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-4080" y="-102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11.fntdata"/><Relationship Id="rId21" Type="http://schemas.openxmlformats.org/officeDocument/2006/relationships/slide" Target="slides/slide17.xml"/><Relationship Id="rId34" Type="http://schemas.openxmlformats.org/officeDocument/2006/relationships/font" Target="fonts/font6.fntdata"/><Relationship Id="rId42" Type="http://schemas.openxmlformats.org/officeDocument/2006/relationships/font" Target="fonts/font14.fntdata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font" Target="fonts/font1.fntdata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4.fntdata"/><Relationship Id="rId37" Type="http://schemas.openxmlformats.org/officeDocument/2006/relationships/font" Target="fonts/font9.fntdata"/><Relationship Id="rId40" Type="http://schemas.openxmlformats.org/officeDocument/2006/relationships/font" Target="fonts/font12.fntdata"/><Relationship Id="rId45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36" Type="http://schemas.openxmlformats.org/officeDocument/2006/relationships/font" Target="fonts/font8.fntdata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3.fntdata"/><Relationship Id="rId44" Type="http://schemas.openxmlformats.org/officeDocument/2006/relationships/font" Target="fonts/font16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43" Type="http://schemas.openxmlformats.org/officeDocument/2006/relationships/font" Target="fonts/font15.fntdata"/><Relationship Id="rId48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microsoft.com/office/2015/10/relationships/revisionInfo" Target="revisionInfo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5.fntdata"/><Relationship Id="rId38" Type="http://schemas.openxmlformats.org/officeDocument/2006/relationships/font" Target="fonts/font10.fntdata"/><Relationship Id="rId46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font" Target="fonts/font1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605DCB96-06D3-48B1-8E32-01D11441D081}"/>
    <pc:docChg chg="undo custSel addSld delSld modSld sldOrd delSection modSection replTag">
      <pc:chgData name="Thomas Stensitzki" userId="75cafe6b-2f2a-469b-85c4-eec3b9c972ba" providerId="ADAL" clId="{605DCB96-06D3-48B1-8E32-01D11441D081}" dt="2024-01-30T09:30:29.098" v="4289" actId="6549"/>
      <pc:docMkLst>
        <pc:docMk/>
      </pc:docMkLst>
      <pc:sldChg chg="modSp mod modTransition modNotes">
        <pc:chgData name="Thomas Stensitzki" userId="75cafe6b-2f2a-469b-85c4-eec3b9c972ba" providerId="ADAL" clId="{605DCB96-06D3-48B1-8E32-01D11441D081}" dt="2024-01-21T12:32:02.172" v="1863"/>
        <pc:sldMkLst>
          <pc:docMk/>
          <pc:sldMk cId="2840609382" sldId="378"/>
        </pc:sldMkLst>
        <pc:spChg chg="mod">
          <ac:chgData name="Thomas Stensitzki" userId="75cafe6b-2f2a-469b-85c4-eec3b9c972ba" providerId="ADAL" clId="{605DCB96-06D3-48B1-8E32-01D11441D081}" dt="2024-01-18T08:18:50.148" v="573" actId="790"/>
          <ac:spMkLst>
            <pc:docMk/>
            <pc:sldMk cId="2840609382" sldId="378"/>
            <ac:spMk id="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21T11:00:45.532" v="701" actId="20577"/>
          <ac:spMkLst>
            <pc:docMk/>
            <pc:sldMk cId="2840609382" sldId="378"/>
            <ac:spMk id="4" creationId="{00000000-0000-0000-0000-000000000000}"/>
          </ac:spMkLst>
        </pc:spChg>
      </pc:sldChg>
      <pc:sldChg chg="del delDesignElem">
        <pc:chgData name="Thomas Stensitzki" userId="75cafe6b-2f2a-469b-85c4-eec3b9c972ba" providerId="ADAL" clId="{605DCB96-06D3-48B1-8E32-01D11441D081}" dt="2024-01-18T08:25:14.106" v="668" actId="47"/>
        <pc:sldMkLst>
          <pc:docMk/>
          <pc:sldMk cId="798222503" sldId="387"/>
        </pc:sldMkLst>
      </pc:sldChg>
      <pc:sldChg chg="modSp del mod modNotes">
        <pc:chgData name="Thomas Stensitzki" userId="75cafe6b-2f2a-469b-85c4-eec3b9c972ba" providerId="ADAL" clId="{605DCB96-06D3-48B1-8E32-01D11441D081}" dt="2024-01-18T08:01:03.852" v="287" actId="18676"/>
        <pc:sldMkLst>
          <pc:docMk/>
          <pc:sldMk cId="2604925702" sldId="671"/>
        </pc:sldMkLst>
        <pc:spChg chg="mod">
          <ac:chgData name="Thomas Stensitzki" userId="75cafe6b-2f2a-469b-85c4-eec3b9c972ba" providerId="ADAL" clId="{605DCB96-06D3-48B1-8E32-01D11441D081}" dt="2024-01-18T08:00:52.348" v="167" actId="790"/>
          <ac:spMkLst>
            <pc:docMk/>
            <pc:sldMk cId="2604925702" sldId="671"/>
            <ac:spMk id="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52" v="171" actId="790"/>
          <ac:spMkLst>
            <pc:docMk/>
            <pc:sldMk cId="2604925702" sldId="671"/>
            <ac:spMk id="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48" v="168" actId="790"/>
          <ac:spMkLst>
            <pc:docMk/>
            <pc:sldMk cId="2604925702" sldId="671"/>
            <ac:spMk id="6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50" v="169" actId="790"/>
          <ac:spMkLst>
            <pc:docMk/>
            <pc:sldMk cId="2604925702" sldId="671"/>
            <ac:spMk id="8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50" v="170" actId="790"/>
          <ac:spMkLst>
            <pc:docMk/>
            <pc:sldMk cId="2604925702" sldId="671"/>
            <ac:spMk id="9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53" v="172"/>
          <ac:spMkLst>
            <pc:docMk/>
            <pc:sldMk cId="2604925702" sldId="671"/>
            <ac:spMk id="1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55" v="173"/>
          <ac:spMkLst>
            <pc:docMk/>
            <pc:sldMk cId="2604925702" sldId="671"/>
            <ac:spMk id="1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56" v="174"/>
          <ac:spMkLst>
            <pc:docMk/>
            <pc:sldMk cId="2604925702" sldId="671"/>
            <ac:spMk id="1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605DCB96-06D3-48B1-8E32-01D11441D081}" dt="2024-01-18T08:01:03.852" v="287" actId="18676"/>
        <pc:sldMkLst>
          <pc:docMk/>
          <pc:sldMk cId="3251048586" sldId="811"/>
        </pc:sldMkLst>
        <pc:spChg chg="mod">
          <ac:chgData name="Thomas Stensitzki" userId="75cafe6b-2f2a-469b-85c4-eec3b9c972ba" providerId="ADAL" clId="{605DCB96-06D3-48B1-8E32-01D11441D081}" dt="2024-01-18T08:00:52.363" v="182" actId="790"/>
          <ac:spMkLst>
            <pc:docMk/>
            <pc:sldMk cId="3251048586" sldId="811"/>
            <ac:spMk id="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69" v="185" actId="790"/>
          <ac:spMkLst>
            <pc:docMk/>
            <pc:sldMk cId="3251048586" sldId="811"/>
            <ac:spMk id="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64" v="183" actId="790"/>
          <ac:spMkLst>
            <pc:docMk/>
            <pc:sldMk cId="3251048586" sldId="811"/>
            <ac:spMk id="4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67" v="184" actId="790"/>
          <ac:spMkLst>
            <pc:docMk/>
            <pc:sldMk cId="3251048586" sldId="811"/>
            <ac:spMk id="5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70" v="186" actId="790"/>
          <ac:spMkLst>
            <pc:docMk/>
            <pc:sldMk cId="3251048586" sldId="811"/>
            <ac:spMk id="8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71" v="187" actId="790"/>
          <ac:spMkLst>
            <pc:docMk/>
            <pc:sldMk cId="3251048586" sldId="811"/>
            <ac:spMk id="9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71" v="188"/>
          <ac:spMkLst>
            <pc:docMk/>
            <pc:sldMk cId="3251048586" sldId="811"/>
            <ac:spMk id="1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72" v="189"/>
          <ac:spMkLst>
            <pc:docMk/>
            <pc:sldMk cId="3251048586" sldId="811"/>
            <ac:spMk id="1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73" v="190"/>
          <ac:spMkLst>
            <pc:docMk/>
            <pc:sldMk cId="3251048586" sldId="811"/>
            <ac:spMk id="1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605DCB96-06D3-48B1-8E32-01D11441D081}" dt="2024-01-18T08:01:03.852" v="287" actId="18676"/>
        <pc:sldMkLst>
          <pc:docMk/>
          <pc:sldMk cId="3018093643" sldId="813"/>
        </pc:sldMkLst>
        <pc:spChg chg="mod">
          <ac:chgData name="Thomas Stensitzki" userId="75cafe6b-2f2a-469b-85c4-eec3b9c972ba" providerId="ADAL" clId="{605DCB96-06D3-48B1-8E32-01D11441D081}" dt="2024-01-18T08:00:52.359" v="177" actId="790"/>
          <ac:spMkLst>
            <pc:docMk/>
            <pc:sldMk cId="3018093643" sldId="813"/>
            <ac:spMk id="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60" v="178" actId="790"/>
          <ac:spMkLst>
            <pc:docMk/>
            <pc:sldMk cId="3018093643" sldId="813"/>
            <ac:spMk id="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605DCB96-06D3-48B1-8E32-01D11441D081}" dt="2024-01-18T08:01:03.852" v="287" actId="18676"/>
        <pc:sldMkLst>
          <pc:docMk/>
          <pc:sldMk cId="3007419678" sldId="814"/>
        </pc:sldMkLst>
        <pc:spChg chg="mod">
          <ac:chgData name="Thomas Stensitzki" userId="75cafe6b-2f2a-469b-85c4-eec3b9c972ba" providerId="ADAL" clId="{605DCB96-06D3-48B1-8E32-01D11441D081}" dt="2024-01-18T08:00:52.388" v="204" actId="790"/>
          <ac:spMkLst>
            <pc:docMk/>
            <pc:sldMk cId="3007419678" sldId="814"/>
            <ac:spMk id="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89" v="205" actId="790"/>
          <ac:spMkLst>
            <pc:docMk/>
            <pc:sldMk cId="3007419678" sldId="814"/>
            <ac:spMk id="4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88" v="203" actId="790"/>
          <ac:spMkLst>
            <pc:docMk/>
            <pc:sldMk cId="3007419678" sldId="814"/>
            <ac:spMk id="6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605DCB96-06D3-48B1-8E32-01D11441D081}" dt="2024-01-18T08:01:03.852" v="287" actId="18676"/>
        <pc:sldMkLst>
          <pc:docMk/>
          <pc:sldMk cId="1595304060" sldId="815"/>
        </pc:sldMkLst>
        <pc:spChg chg="mod">
          <ac:chgData name="Thomas Stensitzki" userId="75cafe6b-2f2a-469b-85c4-eec3b9c972ba" providerId="ADAL" clId="{605DCB96-06D3-48B1-8E32-01D11441D081}" dt="2024-01-18T08:00:52.393" v="209" actId="790"/>
          <ac:spMkLst>
            <pc:docMk/>
            <pc:sldMk cId="1595304060" sldId="815"/>
            <ac:spMk id="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97" v="213" actId="790"/>
          <ac:spMkLst>
            <pc:docMk/>
            <pc:sldMk cId="1595304060" sldId="815"/>
            <ac:spMk id="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93" v="210" actId="790"/>
          <ac:spMkLst>
            <pc:docMk/>
            <pc:sldMk cId="1595304060" sldId="815"/>
            <ac:spMk id="4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94" v="211" actId="790"/>
          <ac:spMkLst>
            <pc:docMk/>
            <pc:sldMk cId="1595304060" sldId="815"/>
            <ac:spMk id="8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95" v="212" actId="790"/>
          <ac:spMkLst>
            <pc:docMk/>
            <pc:sldMk cId="1595304060" sldId="815"/>
            <ac:spMk id="9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97" v="214"/>
          <ac:spMkLst>
            <pc:docMk/>
            <pc:sldMk cId="1595304060" sldId="815"/>
            <ac:spMk id="1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98" v="215"/>
          <ac:spMkLst>
            <pc:docMk/>
            <pc:sldMk cId="1595304060" sldId="815"/>
            <ac:spMk id="1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99" v="216"/>
          <ac:spMkLst>
            <pc:docMk/>
            <pc:sldMk cId="1595304060" sldId="815"/>
            <ac:spMk id="1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605DCB96-06D3-48B1-8E32-01D11441D081}" dt="2024-01-18T08:01:03.852" v="287" actId="18676"/>
        <pc:sldMkLst>
          <pc:docMk/>
          <pc:sldMk cId="1869646049" sldId="816"/>
        </pc:sldMkLst>
        <pc:spChg chg="mod">
          <ac:chgData name="Thomas Stensitzki" userId="75cafe6b-2f2a-469b-85c4-eec3b9c972ba" providerId="ADAL" clId="{605DCB96-06D3-48B1-8E32-01D11441D081}" dt="2024-01-18T08:00:52.402" v="219" actId="790"/>
          <ac:spMkLst>
            <pc:docMk/>
            <pc:sldMk cId="1869646049" sldId="816"/>
            <ac:spMk id="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03" v="220" actId="790"/>
          <ac:spMkLst>
            <pc:docMk/>
            <pc:sldMk cId="1869646049" sldId="816"/>
            <ac:spMk id="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605DCB96-06D3-48B1-8E32-01D11441D081}" dt="2024-01-18T08:01:03.852" v="287" actId="18676"/>
        <pc:sldMkLst>
          <pc:docMk/>
          <pc:sldMk cId="3264467736" sldId="817"/>
        </pc:sldMkLst>
        <pc:spChg chg="mod">
          <ac:chgData name="Thomas Stensitzki" userId="75cafe6b-2f2a-469b-85c4-eec3b9c972ba" providerId="ADAL" clId="{605DCB96-06D3-48B1-8E32-01D11441D081}" dt="2024-01-18T08:00:52.406" v="224" actId="790"/>
          <ac:spMkLst>
            <pc:docMk/>
            <pc:sldMk cId="3264467736" sldId="817"/>
            <ac:spMk id="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10" v="227" actId="790"/>
          <ac:spMkLst>
            <pc:docMk/>
            <pc:sldMk cId="3264467736" sldId="817"/>
            <ac:spMk id="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07" v="225" actId="790"/>
          <ac:spMkLst>
            <pc:docMk/>
            <pc:sldMk cId="3264467736" sldId="817"/>
            <ac:spMk id="4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08" v="226" actId="790"/>
          <ac:spMkLst>
            <pc:docMk/>
            <pc:sldMk cId="3264467736" sldId="817"/>
            <ac:spMk id="5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11" v="228" actId="790"/>
          <ac:spMkLst>
            <pc:docMk/>
            <pc:sldMk cId="3264467736" sldId="817"/>
            <ac:spMk id="8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12" v="229" actId="790"/>
          <ac:spMkLst>
            <pc:docMk/>
            <pc:sldMk cId="3264467736" sldId="817"/>
            <ac:spMk id="9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12" v="230"/>
          <ac:spMkLst>
            <pc:docMk/>
            <pc:sldMk cId="3264467736" sldId="817"/>
            <ac:spMk id="1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13" v="231"/>
          <ac:spMkLst>
            <pc:docMk/>
            <pc:sldMk cId="3264467736" sldId="817"/>
            <ac:spMk id="1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14" v="232"/>
          <ac:spMkLst>
            <pc:docMk/>
            <pc:sldMk cId="3264467736" sldId="817"/>
            <ac:spMk id="1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605DCB96-06D3-48B1-8E32-01D11441D081}" dt="2024-01-18T08:01:03.852" v="287" actId="18676"/>
        <pc:sldMkLst>
          <pc:docMk/>
          <pc:sldMk cId="3007419678" sldId="818"/>
        </pc:sldMkLst>
        <pc:spChg chg="mod">
          <ac:chgData name="Thomas Stensitzki" userId="75cafe6b-2f2a-469b-85c4-eec3b9c972ba" providerId="ADAL" clId="{605DCB96-06D3-48B1-8E32-01D11441D081}" dt="2024-01-18T08:00:52.430" v="246" actId="790"/>
          <ac:spMkLst>
            <pc:docMk/>
            <pc:sldMk cId="3007419678" sldId="818"/>
            <ac:spMk id="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31" v="247" actId="790"/>
          <ac:spMkLst>
            <pc:docMk/>
            <pc:sldMk cId="3007419678" sldId="818"/>
            <ac:spMk id="4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29" v="245" actId="790"/>
          <ac:spMkLst>
            <pc:docMk/>
            <pc:sldMk cId="3007419678" sldId="818"/>
            <ac:spMk id="6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605DCB96-06D3-48B1-8E32-01D11441D081}" dt="2024-01-18T08:01:03.852" v="287" actId="18676"/>
        <pc:sldMkLst>
          <pc:docMk/>
          <pc:sldMk cId="1595304060" sldId="819"/>
        </pc:sldMkLst>
        <pc:spChg chg="mod">
          <ac:chgData name="Thomas Stensitzki" userId="75cafe6b-2f2a-469b-85c4-eec3b9c972ba" providerId="ADAL" clId="{605DCB96-06D3-48B1-8E32-01D11441D081}" dt="2024-01-18T08:00:52.435" v="251" actId="790"/>
          <ac:spMkLst>
            <pc:docMk/>
            <pc:sldMk cId="1595304060" sldId="819"/>
            <ac:spMk id="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38" v="255" actId="790"/>
          <ac:spMkLst>
            <pc:docMk/>
            <pc:sldMk cId="1595304060" sldId="819"/>
            <ac:spMk id="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35" v="252" actId="790"/>
          <ac:spMkLst>
            <pc:docMk/>
            <pc:sldMk cId="1595304060" sldId="819"/>
            <ac:spMk id="4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36" v="253" actId="790"/>
          <ac:spMkLst>
            <pc:docMk/>
            <pc:sldMk cId="1595304060" sldId="819"/>
            <ac:spMk id="8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37" v="254" actId="790"/>
          <ac:spMkLst>
            <pc:docMk/>
            <pc:sldMk cId="1595304060" sldId="819"/>
            <ac:spMk id="9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39" v="256"/>
          <ac:spMkLst>
            <pc:docMk/>
            <pc:sldMk cId="1595304060" sldId="819"/>
            <ac:spMk id="1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40" v="257"/>
          <ac:spMkLst>
            <pc:docMk/>
            <pc:sldMk cId="1595304060" sldId="819"/>
            <ac:spMk id="1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41" v="258"/>
          <ac:spMkLst>
            <pc:docMk/>
            <pc:sldMk cId="1595304060" sldId="819"/>
            <ac:spMk id="1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605DCB96-06D3-48B1-8E32-01D11441D081}" dt="2024-01-18T08:01:03.852" v="287" actId="18676"/>
        <pc:sldMkLst>
          <pc:docMk/>
          <pc:sldMk cId="1869646049" sldId="820"/>
        </pc:sldMkLst>
        <pc:spChg chg="mod">
          <ac:chgData name="Thomas Stensitzki" userId="75cafe6b-2f2a-469b-85c4-eec3b9c972ba" providerId="ADAL" clId="{605DCB96-06D3-48B1-8E32-01D11441D081}" dt="2024-01-18T08:00:52.444" v="261" actId="790"/>
          <ac:spMkLst>
            <pc:docMk/>
            <pc:sldMk cId="1869646049" sldId="820"/>
            <ac:spMk id="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44" v="262" actId="790"/>
          <ac:spMkLst>
            <pc:docMk/>
            <pc:sldMk cId="1869646049" sldId="820"/>
            <ac:spMk id="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605DCB96-06D3-48B1-8E32-01D11441D081}" dt="2024-01-18T08:01:03.852" v="287" actId="18676"/>
        <pc:sldMkLst>
          <pc:docMk/>
          <pc:sldMk cId="3264467736" sldId="821"/>
        </pc:sldMkLst>
        <pc:spChg chg="mod">
          <ac:chgData name="Thomas Stensitzki" userId="75cafe6b-2f2a-469b-85c4-eec3b9c972ba" providerId="ADAL" clId="{605DCB96-06D3-48B1-8E32-01D11441D081}" dt="2024-01-18T08:00:52.449" v="266" actId="790"/>
          <ac:spMkLst>
            <pc:docMk/>
            <pc:sldMk cId="3264467736" sldId="821"/>
            <ac:spMk id="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53" v="269" actId="790"/>
          <ac:spMkLst>
            <pc:docMk/>
            <pc:sldMk cId="3264467736" sldId="821"/>
            <ac:spMk id="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50" v="267" actId="790"/>
          <ac:spMkLst>
            <pc:docMk/>
            <pc:sldMk cId="3264467736" sldId="821"/>
            <ac:spMk id="4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52" v="268" actId="790"/>
          <ac:spMkLst>
            <pc:docMk/>
            <pc:sldMk cId="3264467736" sldId="821"/>
            <ac:spMk id="5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54" v="270" actId="790"/>
          <ac:spMkLst>
            <pc:docMk/>
            <pc:sldMk cId="3264467736" sldId="821"/>
            <ac:spMk id="8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54" v="271" actId="790"/>
          <ac:spMkLst>
            <pc:docMk/>
            <pc:sldMk cId="3264467736" sldId="821"/>
            <ac:spMk id="9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54" v="272"/>
          <ac:spMkLst>
            <pc:docMk/>
            <pc:sldMk cId="3264467736" sldId="821"/>
            <ac:spMk id="1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56" v="273"/>
          <ac:spMkLst>
            <pc:docMk/>
            <pc:sldMk cId="3264467736" sldId="821"/>
            <ac:spMk id="1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57" v="274"/>
          <ac:spMkLst>
            <pc:docMk/>
            <pc:sldMk cId="3264467736" sldId="821"/>
            <ac:spMk id="1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605DCB96-06D3-48B1-8E32-01D11441D081}" dt="2024-01-18T08:01:03.852" v="287" actId="18676"/>
        <pc:sldMkLst>
          <pc:docMk/>
          <pc:sldMk cId="2154960334" sldId="827"/>
        </pc:sldMkLst>
        <pc:spChg chg="mod">
          <ac:chgData name="Thomas Stensitzki" userId="75cafe6b-2f2a-469b-85c4-eec3b9c972ba" providerId="ADAL" clId="{605DCB96-06D3-48B1-8E32-01D11441D081}" dt="2024-01-18T08:00:52.378" v="195" actId="790"/>
          <ac:spMkLst>
            <pc:docMk/>
            <pc:sldMk cId="2154960334" sldId="827"/>
            <ac:spMk id="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79" v="196" actId="790"/>
          <ac:spMkLst>
            <pc:docMk/>
            <pc:sldMk cId="2154960334" sldId="827"/>
            <ac:spMk id="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80" v="197" actId="790"/>
          <ac:spMkLst>
            <pc:docMk/>
            <pc:sldMk cId="2154960334" sldId="827"/>
            <ac:spMk id="10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82" v="198" actId="790"/>
          <ac:spMkLst>
            <pc:docMk/>
            <pc:sldMk cId="2154960334" sldId="827"/>
            <ac:spMk id="11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83" v="199" actId="790"/>
          <ac:spMkLst>
            <pc:docMk/>
            <pc:sldMk cId="2154960334" sldId="827"/>
            <ac:spMk id="1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84" v="200" actId="790"/>
          <ac:spMkLst>
            <pc:docMk/>
            <pc:sldMk cId="2154960334" sldId="827"/>
            <ac:spMk id="1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75" v="193" actId="790"/>
          <ac:spMkLst>
            <pc:docMk/>
            <pc:sldMk cId="2154960334" sldId="827"/>
            <ac:spMk id="19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376" v="194" actId="790"/>
          <ac:spMkLst>
            <pc:docMk/>
            <pc:sldMk cId="2154960334" sldId="827"/>
            <ac:spMk id="20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605DCB96-06D3-48B1-8E32-01D11441D081}" dt="2024-01-18T08:01:03.852" v="287" actId="18676"/>
        <pc:sldMkLst>
          <pc:docMk/>
          <pc:sldMk cId="441744978" sldId="828"/>
        </pc:sldMkLst>
        <pc:spChg chg="mod">
          <ac:chgData name="Thomas Stensitzki" userId="75cafe6b-2f2a-469b-85c4-eec3b9c972ba" providerId="ADAL" clId="{605DCB96-06D3-48B1-8E32-01D11441D081}" dt="2024-01-18T08:00:52.420" v="237" actId="790"/>
          <ac:spMkLst>
            <pc:docMk/>
            <pc:sldMk cId="441744978" sldId="828"/>
            <ac:spMk id="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21" v="238" actId="790"/>
          <ac:spMkLst>
            <pc:docMk/>
            <pc:sldMk cId="441744978" sldId="828"/>
            <ac:spMk id="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22" v="239" actId="790"/>
          <ac:spMkLst>
            <pc:docMk/>
            <pc:sldMk cId="441744978" sldId="828"/>
            <ac:spMk id="10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23" v="240" actId="790"/>
          <ac:spMkLst>
            <pc:docMk/>
            <pc:sldMk cId="441744978" sldId="828"/>
            <ac:spMk id="11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24" v="241" actId="790"/>
          <ac:spMkLst>
            <pc:docMk/>
            <pc:sldMk cId="441744978" sldId="828"/>
            <ac:spMk id="1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25" v="242" actId="790"/>
          <ac:spMkLst>
            <pc:docMk/>
            <pc:sldMk cId="441744978" sldId="828"/>
            <ac:spMk id="1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18" v="235" actId="790"/>
          <ac:spMkLst>
            <pc:docMk/>
            <pc:sldMk cId="441744978" sldId="828"/>
            <ac:spMk id="19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19" v="236" actId="790"/>
          <ac:spMkLst>
            <pc:docMk/>
            <pc:sldMk cId="441744978" sldId="828"/>
            <ac:spMk id="20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605DCB96-06D3-48B1-8E32-01D11441D081}" dt="2024-01-18T08:01:03.852" v="287" actId="18676"/>
        <pc:sldMkLst>
          <pc:docMk/>
          <pc:sldMk cId="409449452" sldId="829"/>
        </pc:sldMkLst>
        <pc:spChg chg="mod">
          <ac:chgData name="Thomas Stensitzki" userId="75cafe6b-2f2a-469b-85c4-eec3b9c972ba" providerId="ADAL" clId="{605DCB96-06D3-48B1-8E32-01D11441D081}" dt="2024-01-18T08:00:52.461" v="279" actId="790"/>
          <ac:spMkLst>
            <pc:docMk/>
            <pc:sldMk cId="409449452" sldId="829"/>
            <ac:spMk id="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64" v="280" actId="790"/>
          <ac:spMkLst>
            <pc:docMk/>
            <pc:sldMk cId="409449452" sldId="829"/>
            <ac:spMk id="3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65" v="281" actId="790"/>
          <ac:spMkLst>
            <pc:docMk/>
            <pc:sldMk cId="409449452" sldId="829"/>
            <ac:spMk id="10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66" v="282" actId="790"/>
          <ac:spMkLst>
            <pc:docMk/>
            <pc:sldMk cId="409449452" sldId="829"/>
            <ac:spMk id="11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67" v="283" actId="790"/>
          <ac:spMkLst>
            <pc:docMk/>
            <pc:sldMk cId="409449452" sldId="829"/>
            <ac:spMk id="16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60" v="277" actId="790"/>
          <ac:spMkLst>
            <pc:docMk/>
            <pc:sldMk cId="409449452" sldId="829"/>
            <ac:spMk id="19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60" v="278" actId="790"/>
          <ac:spMkLst>
            <pc:docMk/>
            <pc:sldMk cId="409449452" sldId="829"/>
            <ac:spMk id="20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00:52.468" v="284" actId="790"/>
          <ac:spMkLst>
            <pc:docMk/>
            <pc:sldMk cId="409449452" sldId="829"/>
            <ac:spMk id="21" creationId="{00000000-0000-0000-0000-000000000000}"/>
          </ac:spMkLst>
        </pc:spChg>
      </pc:sldChg>
      <pc:sldChg chg="modSp mod modTransition modNotes">
        <pc:chgData name="Thomas Stensitzki" userId="75cafe6b-2f2a-469b-85c4-eec3b9c972ba" providerId="ADAL" clId="{605DCB96-06D3-48B1-8E32-01D11441D081}" dt="2024-01-21T12:32:02.172" v="1863"/>
        <pc:sldMkLst>
          <pc:docMk/>
          <pc:sldMk cId="2734184211" sldId="830"/>
        </pc:sldMkLst>
        <pc:spChg chg="mod">
          <ac:chgData name="Thomas Stensitzki" userId="75cafe6b-2f2a-469b-85c4-eec3b9c972ba" providerId="ADAL" clId="{605DCB96-06D3-48B1-8E32-01D11441D081}" dt="2024-01-18T08:18:50.194" v="605" actId="790"/>
          <ac:spMkLst>
            <pc:docMk/>
            <pc:sldMk cId="2734184211" sldId="830"/>
            <ac:spMk id="2" creationId="{00000000-0000-0000-0000-000000000000}"/>
          </ac:spMkLst>
        </pc:spChg>
        <pc:spChg chg="mod">
          <ac:chgData name="Thomas Stensitzki" userId="75cafe6b-2f2a-469b-85c4-eec3b9c972ba" providerId="ADAL" clId="{605DCB96-06D3-48B1-8E32-01D11441D081}" dt="2024-01-18T08:18:50.199" v="607" actId="790"/>
          <ac:spMkLst>
            <pc:docMk/>
            <pc:sldMk cId="2734184211" sldId="830"/>
            <ac:spMk id="3" creationId="{C2E527F1-2D2B-4E9B-80CF-A57851DB1DDA}"/>
          </ac:spMkLst>
        </pc:spChg>
        <pc:spChg chg="mod">
          <ac:chgData name="Thomas Stensitzki" userId="75cafe6b-2f2a-469b-85c4-eec3b9c972ba" providerId="ADAL" clId="{605DCB96-06D3-48B1-8E32-01D11441D081}" dt="2024-01-18T08:18:50.196" v="606" actId="790"/>
          <ac:spMkLst>
            <pc:docMk/>
            <pc:sldMk cId="2734184211" sldId="830"/>
            <ac:spMk id="6" creationId="{BADB25ED-3906-4D9E-8557-A35C93D0007F}"/>
          </ac:spMkLst>
        </pc:spChg>
      </pc:sldChg>
      <pc:sldChg chg="modSp mod modTransition modNotes">
        <pc:chgData name="Thomas Stensitzki" userId="75cafe6b-2f2a-469b-85c4-eec3b9c972ba" providerId="ADAL" clId="{605DCB96-06D3-48B1-8E32-01D11441D081}" dt="2024-01-21T12:32:02.172" v="1863"/>
        <pc:sldMkLst>
          <pc:docMk/>
          <pc:sldMk cId="826133795" sldId="831"/>
        </pc:sldMkLst>
        <pc:spChg chg="mod">
          <ac:chgData name="Thomas Stensitzki" userId="75cafe6b-2f2a-469b-85c4-eec3b9c972ba" providerId="ADAL" clId="{605DCB96-06D3-48B1-8E32-01D11441D081}" dt="2024-01-18T08:18:50.155" v="578" actId="790"/>
          <ac:spMkLst>
            <pc:docMk/>
            <pc:sldMk cId="826133795" sldId="831"/>
            <ac:spMk id="4" creationId="{A0C623BE-F2A4-4533-A1A9-91CF237E6EB3}"/>
          </ac:spMkLst>
        </pc:spChg>
        <pc:spChg chg="mod">
          <ac:chgData name="Thomas Stensitzki" userId="75cafe6b-2f2a-469b-85c4-eec3b9c972ba" providerId="ADAL" clId="{605DCB96-06D3-48B1-8E32-01D11441D081}" dt="2024-01-18T08:18:50.155" v="579" actId="790"/>
          <ac:spMkLst>
            <pc:docMk/>
            <pc:sldMk cId="826133795" sldId="831"/>
            <ac:spMk id="5" creationId="{A98BD0FF-23BA-4749-AAD8-3970D867F26C}"/>
          </ac:spMkLst>
        </pc:spChg>
      </pc:sldChg>
      <pc:sldChg chg="modSp mod modTransition modNotes">
        <pc:chgData name="Thomas Stensitzki" userId="75cafe6b-2f2a-469b-85c4-eec3b9c972ba" providerId="ADAL" clId="{605DCB96-06D3-48B1-8E32-01D11441D081}" dt="2024-01-21T12:32:02.172" v="1863"/>
        <pc:sldMkLst>
          <pc:docMk/>
          <pc:sldMk cId="838883149" sldId="833"/>
        </pc:sldMkLst>
        <pc:spChg chg="mod">
          <ac:chgData name="Thomas Stensitzki" userId="75cafe6b-2f2a-469b-85c4-eec3b9c972ba" providerId="ADAL" clId="{605DCB96-06D3-48B1-8E32-01D11441D081}" dt="2024-01-18T08:18:50.204" v="611" actId="790"/>
          <ac:spMkLst>
            <pc:docMk/>
            <pc:sldMk cId="838883149" sldId="833"/>
            <ac:spMk id="2" creationId="{8F5F6780-642A-42ED-AB56-D47FDB5B2199}"/>
          </ac:spMkLst>
        </pc:spChg>
        <pc:spChg chg="mod">
          <ac:chgData name="Thomas Stensitzki" userId="75cafe6b-2f2a-469b-85c4-eec3b9c972ba" providerId="ADAL" clId="{605DCB96-06D3-48B1-8E32-01D11441D081}" dt="2024-01-18T08:18:50.211" v="614"/>
          <ac:spMkLst>
            <pc:docMk/>
            <pc:sldMk cId="838883149" sldId="833"/>
            <ac:spMk id="3" creationId="{756F72CA-B5E9-B0A1-A39A-10530990045C}"/>
          </ac:spMkLst>
        </pc:spChg>
        <pc:spChg chg="mod">
          <ac:chgData name="Thomas Stensitzki" userId="75cafe6b-2f2a-469b-85c4-eec3b9c972ba" providerId="ADAL" clId="{605DCB96-06D3-48B1-8E32-01D11441D081}" dt="2024-01-18T08:18:50.206" v="612" actId="790"/>
          <ac:spMkLst>
            <pc:docMk/>
            <pc:sldMk cId="838883149" sldId="833"/>
            <ac:spMk id="4" creationId="{7B3574BB-9A1A-45C2-8B6D-609C2D276C1A}"/>
          </ac:spMkLst>
        </pc:spChg>
        <pc:spChg chg="mod">
          <ac:chgData name="Thomas Stensitzki" userId="75cafe6b-2f2a-469b-85c4-eec3b9c972ba" providerId="ADAL" clId="{605DCB96-06D3-48B1-8E32-01D11441D081}" dt="2024-01-18T08:18:50.210" v="613" actId="790"/>
          <ac:spMkLst>
            <pc:docMk/>
            <pc:sldMk cId="838883149" sldId="833"/>
            <ac:spMk id="10" creationId="{415734D9-F780-4CC2-9DF6-005293538FEE}"/>
          </ac:spMkLst>
        </pc:spChg>
      </pc:sldChg>
      <pc:sldChg chg="addSp delSp modSp mod modTransition modClrScheme chgLayout modNotes">
        <pc:chgData name="Thomas Stensitzki" userId="75cafe6b-2f2a-469b-85c4-eec3b9c972ba" providerId="ADAL" clId="{605DCB96-06D3-48B1-8E32-01D11441D081}" dt="2024-01-30T09:22:44.006" v="3480" actId="20577"/>
        <pc:sldMkLst>
          <pc:docMk/>
          <pc:sldMk cId="4026753327" sldId="834"/>
        </pc:sldMkLst>
        <pc:spChg chg="add del mod ord">
          <ac:chgData name="Thomas Stensitzki" userId="75cafe6b-2f2a-469b-85c4-eec3b9c972ba" providerId="ADAL" clId="{605DCB96-06D3-48B1-8E32-01D11441D081}" dt="2024-01-18T08:04:56.190" v="443" actId="700"/>
          <ac:spMkLst>
            <pc:docMk/>
            <pc:sldMk cId="4026753327" sldId="834"/>
            <ac:spMk id="2" creationId="{47EC7379-A5B1-F346-6398-DB9A71EA8622}"/>
          </ac:spMkLst>
        </pc:spChg>
        <pc:spChg chg="add del mod ord">
          <ac:chgData name="Thomas Stensitzki" userId="75cafe6b-2f2a-469b-85c4-eec3b9c972ba" providerId="ADAL" clId="{605DCB96-06D3-48B1-8E32-01D11441D081}" dt="2024-01-18T08:05:14.665" v="445" actId="700"/>
          <ac:spMkLst>
            <pc:docMk/>
            <pc:sldMk cId="4026753327" sldId="834"/>
            <ac:spMk id="3" creationId="{EDD4C520-488E-7780-D792-7DB86F804CCC}"/>
          </ac:spMkLst>
        </pc:spChg>
        <pc:spChg chg="mod ord">
          <ac:chgData name="Thomas Stensitzki" userId="75cafe6b-2f2a-469b-85c4-eec3b9c972ba" providerId="ADAL" clId="{605DCB96-06D3-48B1-8E32-01D11441D081}" dt="2024-01-30T09:22:44.006" v="3480" actId="20577"/>
          <ac:spMkLst>
            <pc:docMk/>
            <pc:sldMk cId="4026753327" sldId="834"/>
            <ac:spMk id="4" creationId="{7455BF6F-A70B-9A2D-3F9A-537FDE15E893}"/>
          </ac:spMkLst>
        </pc:spChg>
        <pc:spChg chg="mod ord">
          <ac:chgData name="Thomas Stensitzki" userId="75cafe6b-2f2a-469b-85c4-eec3b9c972ba" providerId="ADAL" clId="{605DCB96-06D3-48B1-8E32-01D11441D081}" dt="2024-01-18T08:18:50.165" v="584" actId="790"/>
          <ac:spMkLst>
            <pc:docMk/>
            <pc:sldMk cId="4026753327" sldId="834"/>
            <ac:spMk id="5" creationId="{330520E7-5CA1-2A71-20D2-8E354DABB928}"/>
          </ac:spMkLst>
        </pc:spChg>
        <pc:spChg chg="del mod ord">
          <ac:chgData name="Thomas Stensitzki" userId="75cafe6b-2f2a-469b-85c4-eec3b9c972ba" providerId="ADAL" clId="{605DCB96-06D3-48B1-8E32-01D11441D081}" dt="2024-01-18T08:04:49.916" v="442" actId="700"/>
          <ac:spMkLst>
            <pc:docMk/>
            <pc:sldMk cId="4026753327" sldId="834"/>
            <ac:spMk id="6" creationId="{2C1F0162-5789-720A-D37E-3A12AD93D565}"/>
          </ac:spMkLst>
        </pc:spChg>
        <pc:spChg chg="add mod ord">
          <ac:chgData name="Thomas Stensitzki" userId="75cafe6b-2f2a-469b-85c4-eec3b9c972ba" providerId="ADAL" clId="{605DCB96-06D3-48B1-8E32-01D11441D081}" dt="2024-01-18T08:18:50.162" v="583" actId="790"/>
          <ac:spMkLst>
            <pc:docMk/>
            <pc:sldMk cId="4026753327" sldId="834"/>
            <ac:spMk id="7" creationId="{CBF6C86C-FB68-14F1-700A-F66201E4E29A}"/>
          </ac:spMkLst>
        </pc:spChg>
      </pc:sldChg>
      <pc:sldChg chg="addSp delSp modSp new mod modTransition modClrScheme chgLayout modNotes">
        <pc:chgData name="Thomas Stensitzki" userId="75cafe6b-2f2a-469b-85c4-eec3b9c972ba" providerId="ADAL" clId="{605DCB96-06D3-48B1-8E32-01D11441D081}" dt="2024-01-21T12:36:51.242" v="1920" actId="113"/>
        <pc:sldMkLst>
          <pc:docMk/>
          <pc:sldMk cId="3772680153" sldId="835"/>
        </pc:sldMkLst>
        <pc:spChg chg="del">
          <ac:chgData name="Thomas Stensitzki" userId="75cafe6b-2f2a-469b-85c4-eec3b9c972ba" providerId="ADAL" clId="{605DCB96-06D3-48B1-8E32-01D11441D081}" dt="2024-01-18T08:05:08.770" v="444" actId="700"/>
          <ac:spMkLst>
            <pc:docMk/>
            <pc:sldMk cId="3772680153" sldId="835"/>
            <ac:spMk id="2" creationId="{3A62ADA3-52F3-9897-DA06-913789D919AC}"/>
          </ac:spMkLst>
        </pc:spChg>
        <pc:spChg chg="del">
          <ac:chgData name="Thomas Stensitzki" userId="75cafe6b-2f2a-469b-85c4-eec3b9c972ba" providerId="ADAL" clId="{605DCB96-06D3-48B1-8E32-01D11441D081}" dt="2024-01-18T08:05:08.770" v="444" actId="700"/>
          <ac:spMkLst>
            <pc:docMk/>
            <pc:sldMk cId="3772680153" sldId="835"/>
            <ac:spMk id="3" creationId="{5BEEB56C-9EA4-E859-853E-4D926666CEF9}"/>
          </ac:spMkLst>
        </pc:spChg>
        <pc:spChg chg="del">
          <ac:chgData name="Thomas Stensitzki" userId="75cafe6b-2f2a-469b-85c4-eec3b9c972ba" providerId="ADAL" clId="{605DCB96-06D3-48B1-8E32-01D11441D081}" dt="2024-01-18T08:05:08.770" v="444" actId="700"/>
          <ac:spMkLst>
            <pc:docMk/>
            <pc:sldMk cId="3772680153" sldId="835"/>
            <ac:spMk id="4" creationId="{85B24465-42F3-A002-DA78-7E9333BCC616}"/>
          </ac:spMkLst>
        </pc:spChg>
        <pc:spChg chg="add del mod ord">
          <ac:chgData name="Thomas Stensitzki" userId="75cafe6b-2f2a-469b-85c4-eec3b9c972ba" providerId="ADAL" clId="{605DCB96-06D3-48B1-8E32-01D11441D081}" dt="2024-01-18T08:05:19.901" v="446" actId="700"/>
          <ac:spMkLst>
            <pc:docMk/>
            <pc:sldMk cId="3772680153" sldId="835"/>
            <ac:spMk id="5" creationId="{3965FD85-574E-C8BD-31F5-71BEF511B4C9}"/>
          </ac:spMkLst>
        </pc:spChg>
        <pc:spChg chg="add del mod ord">
          <ac:chgData name="Thomas Stensitzki" userId="75cafe6b-2f2a-469b-85c4-eec3b9c972ba" providerId="ADAL" clId="{605DCB96-06D3-48B1-8E32-01D11441D081}" dt="2024-01-18T08:05:19.901" v="446" actId="700"/>
          <ac:spMkLst>
            <pc:docMk/>
            <pc:sldMk cId="3772680153" sldId="835"/>
            <ac:spMk id="6" creationId="{A39939B0-3BBA-1F02-816C-D9CD2BB6BFEC}"/>
          </ac:spMkLst>
        </pc:spChg>
        <pc:spChg chg="add del mod ord">
          <ac:chgData name="Thomas Stensitzki" userId="75cafe6b-2f2a-469b-85c4-eec3b9c972ba" providerId="ADAL" clId="{605DCB96-06D3-48B1-8E32-01D11441D081}" dt="2024-01-18T08:05:19.901" v="446" actId="700"/>
          <ac:spMkLst>
            <pc:docMk/>
            <pc:sldMk cId="3772680153" sldId="835"/>
            <ac:spMk id="7" creationId="{9E626CE1-5A3C-3880-3B16-E1B5199AEA64}"/>
          </ac:spMkLst>
        </pc:spChg>
        <pc:spChg chg="add mod ord">
          <ac:chgData name="Thomas Stensitzki" userId="75cafe6b-2f2a-469b-85c4-eec3b9c972ba" providerId="ADAL" clId="{605DCB96-06D3-48B1-8E32-01D11441D081}" dt="2024-01-18T08:18:50.169" v="587" actId="790"/>
          <ac:spMkLst>
            <pc:docMk/>
            <pc:sldMk cId="3772680153" sldId="835"/>
            <ac:spMk id="8" creationId="{647C9D04-2E97-F1A0-287B-C867585712E1}"/>
          </ac:spMkLst>
        </pc:spChg>
        <pc:spChg chg="add mod ord">
          <ac:chgData name="Thomas Stensitzki" userId="75cafe6b-2f2a-469b-85c4-eec3b9c972ba" providerId="ADAL" clId="{605DCB96-06D3-48B1-8E32-01D11441D081}" dt="2024-01-18T08:18:50.170" v="588" actId="790"/>
          <ac:spMkLst>
            <pc:docMk/>
            <pc:sldMk cId="3772680153" sldId="835"/>
            <ac:spMk id="9" creationId="{55D47AB6-550E-93DA-B44C-4A4A8B259711}"/>
          </ac:spMkLst>
        </pc:spChg>
        <pc:spChg chg="add mod">
          <ac:chgData name="Thomas Stensitzki" userId="75cafe6b-2f2a-469b-85c4-eec3b9c972ba" providerId="ADAL" clId="{605DCB96-06D3-48B1-8E32-01D11441D081}" dt="2024-01-21T12:36:51.242" v="1920" actId="113"/>
          <ac:spMkLst>
            <pc:docMk/>
            <pc:sldMk cId="3772680153" sldId="835"/>
            <ac:spMk id="10" creationId="{511754A8-4302-8789-929A-33238600558D}"/>
          </ac:spMkLst>
        </pc:spChg>
        <pc:spChg chg="add mod">
          <ac:chgData name="Thomas Stensitzki" userId="75cafe6b-2f2a-469b-85c4-eec3b9c972ba" providerId="ADAL" clId="{605DCB96-06D3-48B1-8E32-01D11441D081}" dt="2024-01-21T12:36:51.242" v="1920" actId="113"/>
          <ac:spMkLst>
            <pc:docMk/>
            <pc:sldMk cId="3772680153" sldId="835"/>
            <ac:spMk id="11" creationId="{44DF1CF4-0CEA-2B36-77AD-2976F5DEAD61}"/>
          </ac:spMkLst>
        </pc:spChg>
        <pc:spChg chg="add mod">
          <ac:chgData name="Thomas Stensitzki" userId="75cafe6b-2f2a-469b-85c4-eec3b9c972ba" providerId="ADAL" clId="{605DCB96-06D3-48B1-8E32-01D11441D081}" dt="2024-01-21T11:38:02.940" v="1203" actId="404"/>
          <ac:spMkLst>
            <pc:docMk/>
            <pc:sldMk cId="3772680153" sldId="835"/>
            <ac:spMk id="12" creationId="{11EB506F-A994-C77F-70EF-243EE5CE3B12}"/>
          </ac:spMkLst>
        </pc:spChg>
        <pc:spChg chg="add mod">
          <ac:chgData name="Thomas Stensitzki" userId="75cafe6b-2f2a-469b-85c4-eec3b9c972ba" providerId="ADAL" clId="{605DCB96-06D3-48B1-8E32-01D11441D081}" dt="2024-01-18T08:18:50.175" v="592" actId="790"/>
          <ac:spMkLst>
            <pc:docMk/>
            <pc:sldMk cId="3772680153" sldId="835"/>
            <ac:spMk id="13" creationId="{72BD999E-8AD6-E58B-9731-3B1F212E97BB}"/>
          </ac:spMkLst>
        </pc:spChg>
        <pc:spChg chg="add mod">
          <ac:chgData name="Thomas Stensitzki" userId="75cafe6b-2f2a-469b-85c4-eec3b9c972ba" providerId="ADAL" clId="{605DCB96-06D3-48B1-8E32-01D11441D081}" dt="2024-01-18T08:18:50.177" v="593" actId="790"/>
          <ac:spMkLst>
            <pc:docMk/>
            <pc:sldMk cId="3772680153" sldId="835"/>
            <ac:spMk id="15" creationId="{C5DBDA31-DC48-96EF-FBCF-F2F113AA0BAF}"/>
          </ac:spMkLst>
        </pc:spChg>
        <pc:picChg chg="add mod">
          <ac:chgData name="Thomas Stensitzki" userId="75cafe6b-2f2a-469b-85c4-eec3b9c972ba" providerId="ADAL" clId="{605DCB96-06D3-48B1-8E32-01D11441D081}" dt="2024-01-18T08:05:47.475" v="460"/>
          <ac:picMkLst>
            <pc:docMk/>
            <pc:sldMk cId="3772680153" sldId="835"/>
            <ac:picMk id="14" creationId="{E29A1E4C-0044-A067-E7C5-7528DB39EAAB}"/>
          </ac:picMkLst>
        </pc:picChg>
        <pc:picChg chg="add mod">
          <ac:chgData name="Thomas Stensitzki" userId="75cafe6b-2f2a-469b-85c4-eec3b9c972ba" providerId="ADAL" clId="{605DCB96-06D3-48B1-8E32-01D11441D081}" dt="2024-01-18T08:19:47.350" v="664" actId="1076"/>
          <ac:picMkLst>
            <pc:docMk/>
            <pc:sldMk cId="3772680153" sldId="835"/>
            <ac:picMk id="17" creationId="{A92C7F0B-7325-411E-2300-A1F1F5125C50}"/>
          </ac:picMkLst>
        </pc:picChg>
      </pc:sldChg>
      <pc:sldChg chg="addSp modSp new mod modTransition modNotes">
        <pc:chgData name="Thomas Stensitzki" userId="75cafe6b-2f2a-469b-85c4-eec3b9c972ba" providerId="ADAL" clId="{605DCB96-06D3-48B1-8E32-01D11441D081}" dt="2024-01-21T12:36:45.076" v="1918" actId="113"/>
        <pc:sldMkLst>
          <pc:docMk/>
          <pc:sldMk cId="3660842972" sldId="836"/>
        </pc:sldMkLst>
        <pc:spChg chg="mod">
          <ac:chgData name="Thomas Stensitzki" userId="75cafe6b-2f2a-469b-85c4-eec3b9c972ba" providerId="ADAL" clId="{605DCB96-06D3-48B1-8E32-01D11441D081}" dt="2024-01-18T08:27:32.612" v="680"/>
          <ac:spMkLst>
            <pc:docMk/>
            <pc:sldMk cId="3660842972" sldId="836"/>
            <ac:spMk id="2" creationId="{FC42D82D-E586-985D-F10D-A04669EE65A1}"/>
          </ac:spMkLst>
        </pc:spChg>
        <pc:spChg chg="mod">
          <ac:chgData name="Thomas Stensitzki" userId="75cafe6b-2f2a-469b-85c4-eec3b9c972ba" providerId="ADAL" clId="{605DCB96-06D3-48B1-8E32-01D11441D081}" dt="2024-01-18T08:18:50.182" v="597" actId="790"/>
          <ac:spMkLst>
            <pc:docMk/>
            <pc:sldMk cId="3660842972" sldId="836"/>
            <ac:spMk id="3" creationId="{162DFE1A-8E4B-6C7B-B373-D16664ACE88F}"/>
          </ac:spMkLst>
        </pc:spChg>
        <pc:spChg chg="add mod">
          <ac:chgData name="Thomas Stensitzki" userId="75cafe6b-2f2a-469b-85c4-eec3b9c972ba" providerId="ADAL" clId="{605DCB96-06D3-48B1-8E32-01D11441D081}" dt="2024-01-21T12:36:45.076" v="1918" actId="113"/>
          <ac:spMkLst>
            <pc:docMk/>
            <pc:sldMk cId="3660842972" sldId="836"/>
            <ac:spMk id="4" creationId="{B9303DC8-9E63-26BF-29FE-10EF10723420}"/>
          </ac:spMkLst>
        </pc:spChg>
        <pc:spChg chg="add mod">
          <ac:chgData name="Thomas Stensitzki" userId="75cafe6b-2f2a-469b-85c4-eec3b9c972ba" providerId="ADAL" clId="{605DCB96-06D3-48B1-8E32-01D11441D081}" dt="2024-01-21T12:36:45.076" v="1918" actId="113"/>
          <ac:spMkLst>
            <pc:docMk/>
            <pc:sldMk cId="3660842972" sldId="836"/>
            <ac:spMk id="5" creationId="{FA71A262-F8E0-8D8A-B358-C820D8C9BB48}"/>
          </ac:spMkLst>
        </pc:spChg>
        <pc:spChg chg="add mod">
          <ac:chgData name="Thomas Stensitzki" userId="75cafe6b-2f2a-469b-85c4-eec3b9c972ba" providerId="ADAL" clId="{605DCB96-06D3-48B1-8E32-01D11441D081}" dt="2024-01-21T11:37:56.267" v="1202" actId="404"/>
          <ac:spMkLst>
            <pc:docMk/>
            <pc:sldMk cId="3660842972" sldId="836"/>
            <ac:spMk id="6" creationId="{DA00405E-7FC9-76D6-D84D-6DBDA93CF4F2}"/>
          </ac:spMkLst>
        </pc:spChg>
        <pc:spChg chg="add mod">
          <ac:chgData name="Thomas Stensitzki" userId="75cafe6b-2f2a-469b-85c4-eec3b9c972ba" providerId="ADAL" clId="{605DCB96-06D3-48B1-8E32-01D11441D081}" dt="2024-01-18T08:18:50.187" v="601" actId="790"/>
          <ac:spMkLst>
            <pc:docMk/>
            <pc:sldMk cId="3660842972" sldId="836"/>
            <ac:spMk id="7" creationId="{2E780D7D-83CE-1A99-2BF5-4BED37509109}"/>
          </ac:spMkLst>
        </pc:spChg>
        <pc:spChg chg="add mod">
          <ac:chgData name="Thomas Stensitzki" userId="75cafe6b-2f2a-469b-85c4-eec3b9c972ba" providerId="ADAL" clId="{605DCB96-06D3-48B1-8E32-01D11441D081}" dt="2024-01-21T11:06:56.055" v="714" actId="6549"/>
          <ac:spMkLst>
            <pc:docMk/>
            <pc:sldMk cId="3660842972" sldId="836"/>
            <ac:spMk id="10" creationId="{32C2920C-F47A-903A-7A7B-90E80A459A18}"/>
          </ac:spMkLst>
        </pc:spChg>
        <pc:picChg chg="add mod">
          <ac:chgData name="Thomas Stensitzki" userId="75cafe6b-2f2a-469b-85c4-eec3b9c972ba" providerId="ADAL" clId="{605DCB96-06D3-48B1-8E32-01D11441D081}" dt="2024-01-18T08:18:36.832" v="572"/>
          <ac:picMkLst>
            <pc:docMk/>
            <pc:sldMk cId="3660842972" sldId="836"/>
            <ac:picMk id="8" creationId="{1934306E-A317-D5E7-E710-F1099032AF03}"/>
          </ac:picMkLst>
        </pc:picChg>
        <pc:picChg chg="add mod">
          <ac:chgData name="Thomas Stensitzki" userId="75cafe6b-2f2a-469b-85c4-eec3b9c972ba" providerId="ADAL" clId="{605DCB96-06D3-48B1-8E32-01D11441D081}" dt="2024-01-18T08:18:36.832" v="572"/>
          <ac:picMkLst>
            <pc:docMk/>
            <pc:sldMk cId="3660842972" sldId="836"/>
            <ac:picMk id="9" creationId="{448BE8C2-3E25-F9B4-D3B8-ECADE307B3A6}"/>
          </ac:picMkLst>
        </pc:picChg>
        <pc:picChg chg="add mod">
          <ac:chgData name="Thomas Stensitzki" userId="75cafe6b-2f2a-469b-85c4-eec3b9c972ba" providerId="ADAL" clId="{605DCB96-06D3-48B1-8E32-01D11441D081}" dt="2024-01-18T08:19:49.912" v="665"/>
          <ac:picMkLst>
            <pc:docMk/>
            <pc:sldMk cId="3660842972" sldId="836"/>
            <ac:picMk id="11" creationId="{EAAFB92A-C517-CF17-0D52-AAE248556568}"/>
          </ac:picMkLst>
        </pc:picChg>
      </pc:sldChg>
      <pc:sldChg chg="addSp modSp new mod modTransition">
        <pc:chgData name="Thomas Stensitzki" userId="75cafe6b-2f2a-469b-85c4-eec3b9c972ba" providerId="ADAL" clId="{605DCB96-06D3-48B1-8E32-01D11441D081}" dt="2024-01-21T12:36:29.839" v="1914" actId="113"/>
        <pc:sldMkLst>
          <pc:docMk/>
          <pc:sldMk cId="3361908735" sldId="837"/>
        </pc:sldMkLst>
        <pc:spChg chg="mod">
          <ac:chgData name="Thomas Stensitzki" userId="75cafe6b-2f2a-469b-85c4-eec3b9c972ba" providerId="ADAL" clId="{605DCB96-06D3-48B1-8E32-01D11441D081}" dt="2024-01-21T11:38:49.189" v="1276" actId="6549"/>
          <ac:spMkLst>
            <pc:docMk/>
            <pc:sldMk cId="3361908735" sldId="837"/>
            <ac:spMk id="2" creationId="{AACA3DD2-DD84-173C-273F-15C3E5BAA8C4}"/>
          </ac:spMkLst>
        </pc:spChg>
        <pc:spChg chg="mod">
          <ac:chgData name="Thomas Stensitzki" userId="75cafe6b-2f2a-469b-85c4-eec3b9c972ba" providerId="ADAL" clId="{605DCB96-06D3-48B1-8E32-01D11441D081}" dt="2024-01-21T11:38:46.990" v="1275"/>
          <ac:spMkLst>
            <pc:docMk/>
            <pc:sldMk cId="3361908735" sldId="837"/>
            <ac:spMk id="3" creationId="{1E5827B0-1BED-95C5-6F40-B660CDB51CEE}"/>
          </ac:spMkLst>
        </pc:spChg>
        <pc:spChg chg="add mod">
          <ac:chgData name="Thomas Stensitzki" userId="75cafe6b-2f2a-469b-85c4-eec3b9c972ba" providerId="ADAL" clId="{605DCB96-06D3-48B1-8E32-01D11441D081}" dt="2024-01-21T12:36:29.839" v="1914" actId="113"/>
          <ac:spMkLst>
            <pc:docMk/>
            <pc:sldMk cId="3361908735" sldId="837"/>
            <ac:spMk id="4" creationId="{1BB6B52D-B559-B88F-C682-8A758940B9B2}"/>
          </ac:spMkLst>
        </pc:spChg>
        <pc:spChg chg="add mod">
          <ac:chgData name="Thomas Stensitzki" userId="75cafe6b-2f2a-469b-85c4-eec3b9c972ba" providerId="ADAL" clId="{605DCB96-06D3-48B1-8E32-01D11441D081}" dt="2024-01-21T12:36:29.839" v="1914" actId="113"/>
          <ac:spMkLst>
            <pc:docMk/>
            <pc:sldMk cId="3361908735" sldId="837"/>
            <ac:spMk id="5" creationId="{4F25EF0F-132A-9884-74A8-6702CEAD1345}"/>
          </ac:spMkLst>
        </pc:spChg>
        <pc:spChg chg="add mod">
          <ac:chgData name="Thomas Stensitzki" userId="75cafe6b-2f2a-469b-85c4-eec3b9c972ba" providerId="ADAL" clId="{605DCB96-06D3-48B1-8E32-01D11441D081}" dt="2024-01-21T11:39:04.395" v="1277"/>
          <ac:spMkLst>
            <pc:docMk/>
            <pc:sldMk cId="3361908735" sldId="837"/>
            <ac:spMk id="6" creationId="{605B4861-C0C4-7576-0132-B30936735262}"/>
          </ac:spMkLst>
        </pc:spChg>
        <pc:spChg chg="add mod">
          <ac:chgData name="Thomas Stensitzki" userId="75cafe6b-2f2a-469b-85c4-eec3b9c972ba" providerId="ADAL" clId="{605DCB96-06D3-48B1-8E32-01D11441D081}" dt="2024-01-21T11:39:04.395" v="1277"/>
          <ac:spMkLst>
            <pc:docMk/>
            <pc:sldMk cId="3361908735" sldId="837"/>
            <ac:spMk id="7" creationId="{72544E22-3A19-4871-8A38-FC15B58F56D7}"/>
          </ac:spMkLst>
        </pc:spChg>
        <pc:spChg chg="add mod">
          <ac:chgData name="Thomas Stensitzki" userId="75cafe6b-2f2a-469b-85c4-eec3b9c972ba" providerId="ADAL" clId="{605DCB96-06D3-48B1-8E32-01D11441D081}" dt="2024-01-21T12:25:54.780" v="1743" actId="20577"/>
          <ac:spMkLst>
            <pc:docMk/>
            <pc:sldMk cId="3361908735" sldId="837"/>
            <ac:spMk id="8" creationId="{1CA76969-D0A9-6132-1511-F8A15CC570AC}"/>
          </ac:spMkLst>
        </pc:spChg>
        <pc:spChg chg="add mod">
          <ac:chgData name="Thomas Stensitzki" userId="75cafe6b-2f2a-469b-85c4-eec3b9c972ba" providerId="ADAL" clId="{605DCB96-06D3-48B1-8E32-01D11441D081}" dt="2024-01-21T11:39:23.919" v="1288" actId="6549"/>
          <ac:spMkLst>
            <pc:docMk/>
            <pc:sldMk cId="3361908735" sldId="837"/>
            <ac:spMk id="9" creationId="{5C91994B-2B5A-AEDA-7E58-9A9D73693E80}"/>
          </ac:spMkLst>
        </pc:spChg>
        <pc:picChg chg="add mod">
          <ac:chgData name="Thomas Stensitzki" userId="75cafe6b-2f2a-469b-85c4-eec3b9c972ba" providerId="ADAL" clId="{605DCB96-06D3-48B1-8E32-01D11441D081}" dt="2024-01-21T11:39:04.395" v="1277"/>
          <ac:picMkLst>
            <pc:docMk/>
            <pc:sldMk cId="3361908735" sldId="837"/>
            <ac:picMk id="10" creationId="{788549D4-5183-3D70-CC99-BFF5770D5C85}"/>
          </ac:picMkLst>
        </pc:picChg>
      </pc:sldChg>
      <pc:sldChg chg="modSp mod modTransition">
        <pc:chgData name="Thomas Stensitzki" userId="75cafe6b-2f2a-469b-85c4-eec3b9c972ba" providerId="ADAL" clId="{605DCB96-06D3-48B1-8E32-01D11441D081}" dt="2024-01-21T12:32:02.172" v="1863"/>
        <pc:sldMkLst>
          <pc:docMk/>
          <pc:sldMk cId="3123269902" sldId="838"/>
        </pc:sldMkLst>
        <pc:spChg chg="mod">
          <ac:chgData name="Thomas Stensitzki" userId="75cafe6b-2f2a-469b-85c4-eec3b9c972ba" providerId="ADAL" clId="{605DCB96-06D3-48B1-8E32-01D11441D081}" dt="2024-01-21T11:41:46.963" v="1529" actId="255"/>
          <ac:spMkLst>
            <pc:docMk/>
            <pc:sldMk cId="3123269902" sldId="838"/>
            <ac:spMk id="3" creationId="{44C22336-6B32-309D-61F7-2C9A7348F58A}"/>
          </ac:spMkLst>
        </pc:spChg>
        <pc:spChg chg="mod">
          <ac:chgData name="Thomas Stensitzki" userId="75cafe6b-2f2a-469b-85c4-eec3b9c972ba" providerId="ADAL" clId="{605DCB96-06D3-48B1-8E32-01D11441D081}" dt="2024-01-18T08:26:01.917" v="679" actId="20577"/>
          <ac:spMkLst>
            <pc:docMk/>
            <pc:sldMk cId="3123269902" sldId="838"/>
            <ac:spMk id="4" creationId="{3883776E-6A21-8716-D3A4-0609D40A350E}"/>
          </ac:spMkLst>
        </pc:spChg>
      </pc:sldChg>
      <pc:sldChg chg="addSp delSp modSp new mod modTransition modClrScheme chgLayout">
        <pc:chgData name="Thomas Stensitzki" userId="75cafe6b-2f2a-469b-85c4-eec3b9c972ba" providerId="ADAL" clId="{605DCB96-06D3-48B1-8E32-01D11441D081}" dt="2024-01-21T12:36:37.469" v="1916" actId="255"/>
        <pc:sldMkLst>
          <pc:docMk/>
          <pc:sldMk cId="1723224315" sldId="839"/>
        </pc:sldMkLst>
        <pc:spChg chg="del mod ord">
          <ac:chgData name="Thomas Stensitzki" userId="75cafe6b-2f2a-469b-85c4-eec3b9c972ba" providerId="ADAL" clId="{605DCB96-06D3-48B1-8E32-01D11441D081}" dt="2024-01-21T11:07:25.109" v="716" actId="700"/>
          <ac:spMkLst>
            <pc:docMk/>
            <pc:sldMk cId="1723224315" sldId="839"/>
            <ac:spMk id="2" creationId="{B644CC4B-BB50-A006-3B5E-3BF033A0D8A3}"/>
          </ac:spMkLst>
        </pc:spChg>
        <pc:spChg chg="del mod ord">
          <ac:chgData name="Thomas Stensitzki" userId="75cafe6b-2f2a-469b-85c4-eec3b9c972ba" providerId="ADAL" clId="{605DCB96-06D3-48B1-8E32-01D11441D081}" dt="2024-01-21T11:07:25.109" v="716" actId="700"/>
          <ac:spMkLst>
            <pc:docMk/>
            <pc:sldMk cId="1723224315" sldId="839"/>
            <ac:spMk id="3" creationId="{A5E8DAD1-C9C3-0A50-C5F4-F57139C1A480}"/>
          </ac:spMkLst>
        </pc:spChg>
        <pc:spChg chg="add mod ord">
          <ac:chgData name="Thomas Stensitzki" userId="75cafe6b-2f2a-469b-85c4-eec3b9c972ba" providerId="ADAL" clId="{605DCB96-06D3-48B1-8E32-01D11441D081}" dt="2024-01-21T11:38:18.461" v="1204" actId="6549"/>
          <ac:spMkLst>
            <pc:docMk/>
            <pc:sldMk cId="1723224315" sldId="839"/>
            <ac:spMk id="4" creationId="{50E0B86D-1556-BBC3-E914-05AAA9147031}"/>
          </ac:spMkLst>
        </pc:spChg>
        <pc:spChg chg="add mod ord">
          <ac:chgData name="Thomas Stensitzki" userId="75cafe6b-2f2a-469b-85c4-eec3b9c972ba" providerId="ADAL" clId="{605DCB96-06D3-48B1-8E32-01D11441D081}" dt="2024-01-21T11:38:41.635" v="1274" actId="20577"/>
          <ac:spMkLst>
            <pc:docMk/>
            <pc:sldMk cId="1723224315" sldId="839"/>
            <ac:spMk id="5" creationId="{5477B3F6-03FD-44B8-1FF4-36FA02A51DFB}"/>
          </ac:spMkLst>
        </pc:spChg>
        <pc:spChg chg="add mod">
          <ac:chgData name="Thomas Stensitzki" userId="75cafe6b-2f2a-469b-85c4-eec3b9c972ba" providerId="ADAL" clId="{605DCB96-06D3-48B1-8E32-01D11441D081}" dt="2024-01-21T12:36:37.469" v="1916" actId="255"/>
          <ac:spMkLst>
            <pc:docMk/>
            <pc:sldMk cId="1723224315" sldId="839"/>
            <ac:spMk id="6" creationId="{9FDC71C9-2291-FE8A-7EF3-3D137F67DEED}"/>
          </ac:spMkLst>
        </pc:spChg>
        <pc:spChg chg="add mod">
          <ac:chgData name="Thomas Stensitzki" userId="75cafe6b-2f2a-469b-85c4-eec3b9c972ba" providerId="ADAL" clId="{605DCB96-06D3-48B1-8E32-01D11441D081}" dt="2024-01-21T12:36:37.469" v="1916" actId="255"/>
          <ac:spMkLst>
            <pc:docMk/>
            <pc:sldMk cId="1723224315" sldId="839"/>
            <ac:spMk id="7" creationId="{613F0A79-3DF8-474D-4E36-9B3EAC5582C0}"/>
          </ac:spMkLst>
        </pc:spChg>
        <pc:spChg chg="add mod">
          <ac:chgData name="Thomas Stensitzki" userId="75cafe6b-2f2a-469b-85c4-eec3b9c972ba" providerId="ADAL" clId="{605DCB96-06D3-48B1-8E32-01D11441D081}" dt="2024-01-21T11:37:46.927" v="1201" actId="404"/>
          <ac:spMkLst>
            <pc:docMk/>
            <pc:sldMk cId="1723224315" sldId="839"/>
            <ac:spMk id="8" creationId="{84DE2B31-997A-C3A2-9672-B8BEA19D5F7B}"/>
          </ac:spMkLst>
        </pc:spChg>
        <pc:spChg chg="add mod">
          <ac:chgData name="Thomas Stensitzki" userId="75cafe6b-2f2a-469b-85c4-eec3b9c972ba" providerId="ADAL" clId="{605DCB96-06D3-48B1-8E32-01D11441D081}" dt="2024-01-21T11:37:30.607" v="1199" actId="404"/>
          <ac:spMkLst>
            <pc:docMk/>
            <pc:sldMk cId="1723224315" sldId="839"/>
            <ac:spMk id="9" creationId="{81663ACA-246B-BF62-E4E5-6F33A4CB7FCE}"/>
          </ac:spMkLst>
        </pc:spChg>
        <pc:spChg chg="add mod">
          <ac:chgData name="Thomas Stensitzki" userId="75cafe6b-2f2a-469b-85c4-eec3b9c972ba" providerId="ADAL" clId="{605DCB96-06D3-48B1-8E32-01D11441D081}" dt="2024-01-21T11:35:48.292" v="1197" actId="20577"/>
          <ac:spMkLst>
            <pc:docMk/>
            <pc:sldMk cId="1723224315" sldId="839"/>
            <ac:spMk id="10" creationId="{2AF009F9-617A-9B78-937D-0CB38CC84B06}"/>
          </ac:spMkLst>
        </pc:spChg>
        <pc:spChg chg="add mod">
          <ac:chgData name="Thomas Stensitzki" userId="75cafe6b-2f2a-469b-85c4-eec3b9c972ba" providerId="ADAL" clId="{605DCB96-06D3-48B1-8E32-01D11441D081}" dt="2024-01-21T11:09:59.539" v="878" actId="790"/>
          <ac:spMkLst>
            <pc:docMk/>
            <pc:sldMk cId="1723224315" sldId="839"/>
            <ac:spMk id="11" creationId="{F28A8F29-C1B4-4BB0-F1E2-A87213F4FCBE}"/>
          </ac:spMkLst>
        </pc:spChg>
        <pc:picChg chg="add mod">
          <ac:chgData name="Thomas Stensitzki" userId="75cafe6b-2f2a-469b-85c4-eec3b9c972ba" providerId="ADAL" clId="{605DCB96-06D3-48B1-8E32-01D11441D081}" dt="2024-01-21T11:08:47.628" v="787"/>
          <ac:picMkLst>
            <pc:docMk/>
            <pc:sldMk cId="1723224315" sldId="839"/>
            <ac:picMk id="12" creationId="{75F48581-F3BB-3E3D-CF56-6BE465C941CE}"/>
          </ac:picMkLst>
        </pc:picChg>
      </pc:sldChg>
      <pc:sldChg chg="modSp add mod ord modTransition">
        <pc:chgData name="Thomas Stensitzki" userId="75cafe6b-2f2a-469b-85c4-eec3b9c972ba" providerId="ADAL" clId="{605DCB96-06D3-48B1-8E32-01D11441D081}" dt="2024-01-21T12:32:21.883" v="1865" actId="6549"/>
        <pc:sldMkLst>
          <pc:docMk/>
          <pc:sldMk cId="530136555" sldId="840"/>
        </pc:sldMkLst>
        <pc:spChg chg="mod">
          <ac:chgData name="Thomas Stensitzki" userId="75cafe6b-2f2a-469b-85c4-eec3b9c972ba" providerId="ADAL" clId="{605DCB96-06D3-48B1-8E32-01D11441D081}" dt="2024-01-21T11:41:39.554" v="1528" actId="404"/>
          <ac:spMkLst>
            <pc:docMk/>
            <pc:sldMk cId="530136555" sldId="840"/>
            <ac:spMk id="3" creationId="{44C22336-6B32-309D-61F7-2C9A7348F58A}"/>
          </ac:spMkLst>
        </pc:spChg>
        <pc:spChg chg="mod">
          <ac:chgData name="Thomas Stensitzki" userId="75cafe6b-2f2a-469b-85c4-eec3b9c972ba" providerId="ADAL" clId="{605DCB96-06D3-48B1-8E32-01D11441D081}" dt="2024-01-21T12:32:21.883" v="1865" actId="6549"/>
          <ac:spMkLst>
            <pc:docMk/>
            <pc:sldMk cId="530136555" sldId="840"/>
            <ac:spMk id="4" creationId="{3883776E-6A21-8716-D3A4-0609D40A350E}"/>
          </ac:spMkLst>
        </pc:spChg>
      </pc:sldChg>
      <pc:sldChg chg="modSp add mod ord modTransition">
        <pc:chgData name="Thomas Stensitzki" userId="75cafe6b-2f2a-469b-85c4-eec3b9c972ba" providerId="ADAL" clId="{605DCB96-06D3-48B1-8E32-01D11441D081}" dt="2024-01-29T17:04:11.256" v="2456" actId="20577"/>
        <pc:sldMkLst>
          <pc:docMk/>
          <pc:sldMk cId="668482674" sldId="841"/>
        </pc:sldMkLst>
        <pc:spChg chg="mod">
          <ac:chgData name="Thomas Stensitzki" userId="75cafe6b-2f2a-469b-85c4-eec3b9c972ba" providerId="ADAL" clId="{605DCB96-06D3-48B1-8E32-01D11441D081}" dt="2024-01-21T11:43:09.691" v="1539" actId="113"/>
          <ac:spMkLst>
            <pc:docMk/>
            <pc:sldMk cId="668482674" sldId="841"/>
            <ac:spMk id="5" creationId="{5477B3F6-03FD-44B8-1FF4-36FA02A51DFB}"/>
          </ac:spMkLst>
        </pc:spChg>
        <pc:spChg chg="mod">
          <ac:chgData name="Thomas Stensitzki" userId="75cafe6b-2f2a-469b-85c4-eec3b9c972ba" providerId="ADAL" clId="{605DCB96-06D3-48B1-8E32-01D11441D081}" dt="2024-01-21T12:36:20.484" v="1912" actId="113"/>
          <ac:spMkLst>
            <pc:docMk/>
            <pc:sldMk cId="668482674" sldId="841"/>
            <ac:spMk id="6" creationId="{9FDC71C9-2291-FE8A-7EF3-3D137F67DEED}"/>
          </ac:spMkLst>
        </pc:spChg>
        <pc:spChg chg="mod">
          <ac:chgData name="Thomas Stensitzki" userId="75cafe6b-2f2a-469b-85c4-eec3b9c972ba" providerId="ADAL" clId="{605DCB96-06D3-48B1-8E32-01D11441D081}" dt="2024-01-21T12:36:20.484" v="1912" actId="113"/>
          <ac:spMkLst>
            <pc:docMk/>
            <pc:sldMk cId="668482674" sldId="841"/>
            <ac:spMk id="7" creationId="{613F0A79-3DF8-474D-4E36-9B3EAC5582C0}"/>
          </ac:spMkLst>
        </pc:spChg>
        <pc:spChg chg="mod">
          <ac:chgData name="Thomas Stensitzki" userId="75cafe6b-2f2a-469b-85c4-eec3b9c972ba" providerId="ADAL" clId="{605DCB96-06D3-48B1-8E32-01D11441D081}" dt="2024-01-29T17:04:11.256" v="2456" actId="20577"/>
          <ac:spMkLst>
            <pc:docMk/>
            <pc:sldMk cId="668482674" sldId="841"/>
            <ac:spMk id="8" creationId="{84DE2B31-997A-C3A2-9672-B8BEA19D5F7B}"/>
          </ac:spMkLst>
        </pc:spChg>
      </pc:sldChg>
      <pc:sldChg chg="modSp add mod ord modTransition">
        <pc:chgData name="Thomas Stensitzki" userId="75cafe6b-2f2a-469b-85c4-eec3b9c972ba" providerId="ADAL" clId="{605DCB96-06D3-48B1-8E32-01D11441D081}" dt="2024-01-29T17:04:57.521" v="2461" actId="404"/>
        <pc:sldMkLst>
          <pc:docMk/>
          <pc:sldMk cId="2762459142" sldId="842"/>
        </pc:sldMkLst>
        <pc:spChg chg="mod">
          <ac:chgData name="Thomas Stensitzki" userId="75cafe6b-2f2a-469b-85c4-eec3b9c972ba" providerId="ADAL" clId="{605DCB96-06D3-48B1-8E32-01D11441D081}" dt="2024-01-21T12:31:38.531" v="1860" actId="113"/>
          <ac:spMkLst>
            <pc:docMk/>
            <pc:sldMk cId="2762459142" sldId="842"/>
            <ac:spMk id="3" creationId="{1E5827B0-1BED-95C5-6F40-B660CDB51CEE}"/>
          </ac:spMkLst>
        </pc:spChg>
        <pc:spChg chg="mod">
          <ac:chgData name="Thomas Stensitzki" userId="75cafe6b-2f2a-469b-85c4-eec3b9c972ba" providerId="ADAL" clId="{605DCB96-06D3-48B1-8E32-01D11441D081}" dt="2024-01-21T12:36:11.697" v="1910" actId="255"/>
          <ac:spMkLst>
            <pc:docMk/>
            <pc:sldMk cId="2762459142" sldId="842"/>
            <ac:spMk id="4" creationId="{1BB6B52D-B559-B88F-C682-8A758940B9B2}"/>
          </ac:spMkLst>
        </pc:spChg>
        <pc:spChg chg="mod">
          <ac:chgData name="Thomas Stensitzki" userId="75cafe6b-2f2a-469b-85c4-eec3b9c972ba" providerId="ADAL" clId="{605DCB96-06D3-48B1-8E32-01D11441D081}" dt="2024-01-21T12:36:11.697" v="1910" actId="255"/>
          <ac:spMkLst>
            <pc:docMk/>
            <pc:sldMk cId="2762459142" sldId="842"/>
            <ac:spMk id="5" creationId="{4F25EF0F-132A-9884-74A8-6702CEAD1345}"/>
          </ac:spMkLst>
        </pc:spChg>
        <pc:spChg chg="mod">
          <ac:chgData name="Thomas Stensitzki" userId="75cafe6b-2f2a-469b-85c4-eec3b9c972ba" providerId="ADAL" clId="{605DCB96-06D3-48B1-8E32-01D11441D081}" dt="2024-01-29T17:04:57.521" v="2461" actId="404"/>
          <ac:spMkLst>
            <pc:docMk/>
            <pc:sldMk cId="2762459142" sldId="842"/>
            <ac:spMk id="6" creationId="{605B4861-C0C4-7576-0132-B30936735262}"/>
          </ac:spMkLst>
        </pc:spChg>
        <pc:spChg chg="mod">
          <ac:chgData name="Thomas Stensitzki" userId="75cafe6b-2f2a-469b-85c4-eec3b9c972ba" providerId="ADAL" clId="{605DCB96-06D3-48B1-8E32-01D11441D081}" dt="2024-01-21T12:28:00.035" v="1813"/>
          <ac:spMkLst>
            <pc:docMk/>
            <pc:sldMk cId="2762459142" sldId="842"/>
            <ac:spMk id="7" creationId="{72544E22-3A19-4871-8A38-FC15B58F56D7}"/>
          </ac:spMkLst>
        </pc:spChg>
        <pc:spChg chg="mod">
          <ac:chgData name="Thomas Stensitzki" userId="75cafe6b-2f2a-469b-85c4-eec3b9c972ba" providerId="ADAL" clId="{605DCB96-06D3-48B1-8E32-01D11441D081}" dt="2024-01-21T12:28:05.617" v="1814" actId="13926"/>
          <ac:spMkLst>
            <pc:docMk/>
            <pc:sldMk cId="2762459142" sldId="842"/>
            <ac:spMk id="8" creationId="{1CA76969-D0A9-6132-1511-F8A15CC570AC}"/>
          </ac:spMkLst>
        </pc:spChg>
      </pc:sldChg>
      <pc:sldChg chg="addSp modSp new mod modTransition">
        <pc:chgData name="Thomas Stensitzki" userId="75cafe6b-2f2a-469b-85c4-eec3b9c972ba" providerId="ADAL" clId="{605DCB96-06D3-48B1-8E32-01D11441D081}" dt="2024-01-30T09:30:29.098" v="4289" actId="6549"/>
        <pc:sldMkLst>
          <pc:docMk/>
          <pc:sldMk cId="580274502" sldId="843"/>
        </pc:sldMkLst>
        <pc:spChg chg="mod">
          <ac:chgData name="Thomas Stensitzki" userId="75cafe6b-2f2a-469b-85c4-eec3b9c972ba" providerId="ADAL" clId="{605DCB96-06D3-48B1-8E32-01D11441D081}" dt="2024-01-21T12:28:58.631" v="1822" actId="20577"/>
          <ac:spMkLst>
            <pc:docMk/>
            <pc:sldMk cId="580274502" sldId="843"/>
            <ac:spMk id="2" creationId="{A3D0A0AA-DC42-B320-7BD6-B704D910DBBD}"/>
          </ac:spMkLst>
        </pc:spChg>
        <pc:spChg chg="add mod">
          <ac:chgData name="Thomas Stensitzki" userId="75cafe6b-2f2a-469b-85c4-eec3b9c972ba" providerId="ADAL" clId="{605DCB96-06D3-48B1-8E32-01D11441D081}" dt="2024-01-30T09:30:29.098" v="4289" actId="6549"/>
          <ac:spMkLst>
            <pc:docMk/>
            <pc:sldMk cId="580274502" sldId="843"/>
            <ac:spMk id="4" creationId="{54A9813E-0B8F-C2B0-178C-8BF76E60B58D}"/>
          </ac:spMkLst>
        </pc:spChg>
      </pc:sldChg>
      <pc:sldChg chg="modSp add mod ord modTransition">
        <pc:chgData name="Thomas Stensitzki" userId="75cafe6b-2f2a-469b-85c4-eec3b9c972ba" providerId="ADAL" clId="{605DCB96-06D3-48B1-8E32-01D11441D081}" dt="2024-01-21T12:53:14.954" v="2407" actId="20577"/>
        <pc:sldMkLst>
          <pc:docMk/>
          <pc:sldMk cId="2476057137" sldId="844"/>
        </pc:sldMkLst>
        <pc:spChg chg="mod">
          <ac:chgData name="Thomas Stensitzki" userId="75cafe6b-2f2a-469b-85c4-eec3b9c972ba" providerId="ADAL" clId="{605DCB96-06D3-48B1-8E32-01D11441D081}" dt="2024-01-21T12:53:14.954" v="2407" actId="20577"/>
          <ac:spMkLst>
            <pc:docMk/>
            <pc:sldMk cId="2476057137" sldId="844"/>
            <ac:spMk id="3" creationId="{44C22336-6B32-309D-61F7-2C9A7348F58A}"/>
          </ac:spMkLst>
        </pc:spChg>
        <pc:spChg chg="mod">
          <ac:chgData name="Thomas Stensitzki" userId="75cafe6b-2f2a-469b-85c4-eec3b9c972ba" providerId="ADAL" clId="{605DCB96-06D3-48B1-8E32-01D11441D081}" dt="2024-01-21T12:52:58.901" v="2361" actId="20577"/>
          <ac:spMkLst>
            <pc:docMk/>
            <pc:sldMk cId="2476057137" sldId="844"/>
            <ac:spMk id="4" creationId="{3883776E-6A21-8716-D3A4-0609D40A350E}"/>
          </ac:spMkLst>
        </pc:spChg>
      </pc:sldChg>
      <pc:sldChg chg="addSp modSp add mod ord modTransition">
        <pc:chgData name="Thomas Stensitzki" userId="75cafe6b-2f2a-469b-85c4-eec3b9c972ba" providerId="ADAL" clId="{605DCB96-06D3-48B1-8E32-01D11441D081}" dt="2024-01-29T17:05:23.188" v="2465" actId="404"/>
        <pc:sldMkLst>
          <pc:docMk/>
          <pc:sldMk cId="1017392454" sldId="845"/>
        </pc:sldMkLst>
        <pc:spChg chg="mod">
          <ac:chgData name="Thomas Stensitzki" userId="75cafe6b-2f2a-469b-85c4-eec3b9c972ba" providerId="ADAL" clId="{605DCB96-06D3-48B1-8E32-01D11441D081}" dt="2024-01-21T12:34:07.382" v="1886" actId="6549"/>
          <ac:spMkLst>
            <pc:docMk/>
            <pc:sldMk cId="1017392454" sldId="845"/>
            <ac:spMk id="2" creationId="{AACA3DD2-DD84-173C-273F-15C3E5BAA8C4}"/>
          </ac:spMkLst>
        </pc:spChg>
        <pc:spChg chg="mod">
          <ac:chgData name="Thomas Stensitzki" userId="75cafe6b-2f2a-469b-85c4-eec3b9c972ba" providerId="ADAL" clId="{605DCB96-06D3-48B1-8E32-01D11441D081}" dt="2024-01-21T12:44:22.679" v="2097" actId="20577"/>
          <ac:spMkLst>
            <pc:docMk/>
            <pc:sldMk cId="1017392454" sldId="845"/>
            <ac:spMk id="3" creationId="{1E5827B0-1BED-95C5-6F40-B660CDB51CEE}"/>
          </ac:spMkLst>
        </pc:spChg>
        <pc:spChg chg="mod">
          <ac:chgData name="Thomas Stensitzki" userId="75cafe6b-2f2a-469b-85c4-eec3b9c972ba" providerId="ADAL" clId="{605DCB96-06D3-48B1-8E32-01D11441D081}" dt="2024-01-21T12:37:22.863" v="1922" actId="14100"/>
          <ac:spMkLst>
            <pc:docMk/>
            <pc:sldMk cId="1017392454" sldId="845"/>
            <ac:spMk id="4" creationId="{1BB6B52D-B559-B88F-C682-8A758940B9B2}"/>
          </ac:spMkLst>
        </pc:spChg>
        <pc:spChg chg="mod">
          <ac:chgData name="Thomas Stensitzki" userId="75cafe6b-2f2a-469b-85c4-eec3b9c972ba" providerId="ADAL" clId="{605DCB96-06D3-48B1-8E32-01D11441D081}" dt="2024-01-21T12:37:22.863" v="1922" actId="14100"/>
          <ac:spMkLst>
            <pc:docMk/>
            <pc:sldMk cId="1017392454" sldId="845"/>
            <ac:spMk id="5" creationId="{4F25EF0F-132A-9884-74A8-6702CEAD1345}"/>
          </ac:spMkLst>
        </pc:spChg>
        <pc:spChg chg="mod">
          <ac:chgData name="Thomas Stensitzki" userId="75cafe6b-2f2a-469b-85c4-eec3b9c972ba" providerId="ADAL" clId="{605DCB96-06D3-48B1-8E32-01D11441D081}" dt="2024-01-29T17:05:23.188" v="2465" actId="404"/>
          <ac:spMkLst>
            <pc:docMk/>
            <pc:sldMk cId="1017392454" sldId="845"/>
            <ac:spMk id="6" creationId="{605B4861-C0C4-7576-0132-B30936735262}"/>
          </ac:spMkLst>
        </pc:spChg>
        <pc:spChg chg="mod">
          <ac:chgData name="Thomas Stensitzki" userId="75cafe6b-2f2a-469b-85c4-eec3b9c972ba" providerId="ADAL" clId="{605DCB96-06D3-48B1-8E32-01D11441D081}" dt="2024-01-21T12:37:14.830" v="1921" actId="14100"/>
          <ac:spMkLst>
            <pc:docMk/>
            <pc:sldMk cId="1017392454" sldId="845"/>
            <ac:spMk id="7" creationId="{72544E22-3A19-4871-8A38-FC15B58F56D7}"/>
          </ac:spMkLst>
        </pc:spChg>
        <pc:spChg chg="mod">
          <ac:chgData name="Thomas Stensitzki" userId="75cafe6b-2f2a-469b-85c4-eec3b9c972ba" providerId="ADAL" clId="{605DCB96-06D3-48B1-8E32-01D11441D081}" dt="2024-01-21T12:52:16.182" v="2285" actId="20577"/>
          <ac:spMkLst>
            <pc:docMk/>
            <pc:sldMk cId="1017392454" sldId="845"/>
            <ac:spMk id="8" creationId="{1CA76969-D0A9-6132-1511-F8A15CC570AC}"/>
          </ac:spMkLst>
        </pc:spChg>
        <pc:spChg chg="mod">
          <ac:chgData name="Thomas Stensitzki" userId="75cafe6b-2f2a-469b-85c4-eec3b9c972ba" providerId="ADAL" clId="{605DCB96-06D3-48B1-8E32-01D11441D081}" dt="2024-01-21T12:34:27.944" v="1897" actId="20577"/>
          <ac:spMkLst>
            <pc:docMk/>
            <pc:sldMk cId="1017392454" sldId="845"/>
            <ac:spMk id="9" creationId="{5C91994B-2B5A-AEDA-7E58-9A9D73693E80}"/>
          </ac:spMkLst>
        </pc:spChg>
        <pc:spChg chg="add mod">
          <ac:chgData name="Thomas Stensitzki" userId="75cafe6b-2f2a-469b-85c4-eec3b9c972ba" providerId="ADAL" clId="{605DCB96-06D3-48B1-8E32-01D11441D081}" dt="2024-01-21T12:40:26.704" v="2027" actId="790"/>
          <ac:spMkLst>
            <pc:docMk/>
            <pc:sldMk cId="1017392454" sldId="845"/>
            <ac:spMk id="11" creationId="{B1356A7B-BF03-11D0-0475-2101F7933A4D}"/>
          </ac:spMkLst>
        </pc:spChg>
        <pc:spChg chg="add mod">
          <ac:chgData name="Thomas Stensitzki" userId="75cafe6b-2f2a-469b-85c4-eec3b9c972ba" providerId="ADAL" clId="{605DCB96-06D3-48B1-8E32-01D11441D081}" dt="2024-01-21T12:40:26.705" v="2028" actId="790"/>
          <ac:spMkLst>
            <pc:docMk/>
            <pc:sldMk cId="1017392454" sldId="845"/>
            <ac:spMk id="12" creationId="{02396286-3697-9805-0E50-340937E96C42}"/>
          </ac:spMkLst>
        </pc:spChg>
        <pc:spChg chg="add mod">
          <ac:chgData name="Thomas Stensitzki" userId="75cafe6b-2f2a-469b-85c4-eec3b9c972ba" providerId="ADAL" clId="{605DCB96-06D3-48B1-8E32-01D11441D081}" dt="2024-01-21T12:40:39.540" v="2030"/>
          <ac:spMkLst>
            <pc:docMk/>
            <pc:sldMk cId="1017392454" sldId="845"/>
            <ac:spMk id="13" creationId="{19D7BD80-5957-353F-7CBF-91FD671A1595}"/>
          </ac:spMkLst>
        </pc:spChg>
        <pc:cxnChg chg="add mod">
          <ac:chgData name="Thomas Stensitzki" userId="75cafe6b-2f2a-469b-85c4-eec3b9c972ba" providerId="ADAL" clId="{605DCB96-06D3-48B1-8E32-01D11441D081}" dt="2024-01-21T12:39:12.777" v="1999" actId="1076"/>
          <ac:cxnSpMkLst>
            <pc:docMk/>
            <pc:sldMk cId="1017392454" sldId="845"/>
            <ac:cxnSpMk id="14" creationId="{B7F93AE8-0BB5-E19D-4617-589C3F5FF08E}"/>
          </ac:cxnSpMkLst>
        </pc:cxnChg>
        <pc:cxnChg chg="add mod">
          <ac:chgData name="Thomas Stensitzki" userId="75cafe6b-2f2a-469b-85c4-eec3b9c972ba" providerId="ADAL" clId="{605DCB96-06D3-48B1-8E32-01D11441D081}" dt="2024-01-21T12:39:12.777" v="1999" actId="1076"/>
          <ac:cxnSpMkLst>
            <pc:docMk/>
            <pc:sldMk cId="1017392454" sldId="845"/>
            <ac:cxnSpMk id="15" creationId="{8A0CB6D7-A1D0-A733-75FD-772BB5D91A9A}"/>
          </ac:cxnSpMkLst>
        </pc:cxnChg>
      </pc:sldChg>
      <pc:sldChg chg="addSp delSp modSp new mod modTransition modClrScheme chgLayout">
        <pc:chgData name="Thomas Stensitzki" userId="75cafe6b-2f2a-469b-85c4-eec3b9c972ba" providerId="ADAL" clId="{605DCB96-06D3-48B1-8E32-01D11441D081}" dt="2024-01-29T17:23:49.906" v="3188" actId="13926"/>
        <pc:sldMkLst>
          <pc:docMk/>
          <pc:sldMk cId="1334180481" sldId="846"/>
        </pc:sldMkLst>
        <pc:spChg chg="del mod ord">
          <ac:chgData name="Thomas Stensitzki" userId="75cafe6b-2f2a-469b-85c4-eec3b9c972ba" providerId="ADAL" clId="{605DCB96-06D3-48B1-8E32-01D11441D081}" dt="2024-01-21T12:30:38.429" v="1844" actId="700"/>
          <ac:spMkLst>
            <pc:docMk/>
            <pc:sldMk cId="1334180481" sldId="846"/>
            <ac:spMk id="2" creationId="{23B1D913-A91C-8ED4-8C27-34E5F0CDB60E}"/>
          </ac:spMkLst>
        </pc:spChg>
        <pc:spChg chg="add mod">
          <ac:chgData name="Thomas Stensitzki" userId="75cafe6b-2f2a-469b-85c4-eec3b9c972ba" providerId="ADAL" clId="{605DCB96-06D3-48B1-8E32-01D11441D081}" dt="2024-01-29T17:19:49.275" v="2979"/>
          <ac:spMkLst>
            <pc:docMk/>
            <pc:sldMk cId="1334180481" sldId="846"/>
            <ac:spMk id="2" creationId="{9B76694C-1F81-D77D-FB71-DF1162355478}"/>
          </ac:spMkLst>
        </pc:spChg>
        <pc:spChg chg="del mod ord">
          <ac:chgData name="Thomas Stensitzki" userId="75cafe6b-2f2a-469b-85c4-eec3b9c972ba" providerId="ADAL" clId="{605DCB96-06D3-48B1-8E32-01D11441D081}" dt="2024-01-21T12:30:38.429" v="1844" actId="700"/>
          <ac:spMkLst>
            <pc:docMk/>
            <pc:sldMk cId="1334180481" sldId="846"/>
            <ac:spMk id="3" creationId="{209623DE-A07F-0799-E6F2-512F95BC4CE6}"/>
          </ac:spMkLst>
        </pc:spChg>
        <pc:spChg chg="add mod">
          <ac:chgData name="Thomas Stensitzki" userId="75cafe6b-2f2a-469b-85c4-eec3b9c972ba" providerId="ADAL" clId="{605DCB96-06D3-48B1-8E32-01D11441D081}" dt="2024-01-29T17:19:49.275" v="2979"/>
          <ac:spMkLst>
            <pc:docMk/>
            <pc:sldMk cId="1334180481" sldId="846"/>
            <ac:spMk id="3" creationId="{ACFC5A7E-51AB-E469-4AF9-A568B5BC7C7C}"/>
          </ac:spMkLst>
        </pc:spChg>
        <pc:spChg chg="add mod">
          <ac:chgData name="Thomas Stensitzki" userId="75cafe6b-2f2a-469b-85c4-eec3b9c972ba" providerId="ADAL" clId="{605DCB96-06D3-48B1-8E32-01D11441D081}" dt="2024-01-29T17:21:59.555" v="3109" actId="13926"/>
          <ac:spMkLst>
            <pc:docMk/>
            <pc:sldMk cId="1334180481" sldId="846"/>
            <ac:spMk id="4" creationId="{41053596-71E9-F9F2-10C2-2613CA0B9E06}"/>
          </ac:spMkLst>
        </pc:spChg>
        <pc:spChg chg="add del mod ord">
          <ac:chgData name="Thomas Stensitzki" userId="75cafe6b-2f2a-469b-85c4-eec3b9c972ba" providerId="ADAL" clId="{605DCB96-06D3-48B1-8E32-01D11441D081}" dt="2024-01-21T12:30:43.620" v="1845" actId="700"/>
          <ac:spMkLst>
            <pc:docMk/>
            <pc:sldMk cId="1334180481" sldId="846"/>
            <ac:spMk id="4" creationId="{D155C013-D386-0F50-D842-E9D7FA1C04B1}"/>
          </ac:spMkLst>
        </pc:spChg>
        <pc:spChg chg="add del mod ord">
          <ac:chgData name="Thomas Stensitzki" userId="75cafe6b-2f2a-469b-85c4-eec3b9c972ba" providerId="ADAL" clId="{605DCB96-06D3-48B1-8E32-01D11441D081}" dt="2024-01-21T12:30:43.620" v="1845" actId="700"/>
          <ac:spMkLst>
            <pc:docMk/>
            <pc:sldMk cId="1334180481" sldId="846"/>
            <ac:spMk id="5" creationId="{2726866E-C4B6-5D90-2948-F9D137C00B40}"/>
          </ac:spMkLst>
        </pc:spChg>
        <pc:spChg chg="add mod">
          <ac:chgData name="Thomas Stensitzki" userId="75cafe6b-2f2a-469b-85c4-eec3b9c972ba" providerId="ADAL" clId="{605DCB96-06D3-48B1-8E32-01D11441D081}" dt="2024-01-29T17:23:49.906" v="3188" actId="13926"/>
          <ac:spMkLst>
            <pc:docMk/>
            <pc:sldMk cId="1334180481" sldId="846"/>
            <ac:spMk id="5" creationId="{488C1C89-E26F-C7F9-72F8-C45C6F547CA4}"/>
          </ac:spMkLst>
        </pc:spChg>
        <pc:spChg chg="add mod ord">
          <ac:chgData name="Thomas Stensitzki" userId="75cafe6b-2f2a-469b-85c4-eec3b9c972ba" providerId="ADAL" clId="{605DCB96-06D3-48B1-8E32-01D11441D081}" dt="2024-01-29T17:20:06.362" v="2982" actId="6549"/>
          <ac:spMkLst>
            <pc:docMk/>
            <pc:sldMk cId="1334180481" sldId="846"/>
            <ac:spMk id="6" creationId="{C02AB606-CC06-5BFE-B9E8-46ADC6AB88F4}"/>
          </ac:spMkLst>
        </pc:spChg>
        <pc:spChg chg="add mod ord">
          <ac:chgData name="Thomas Stensitzki" userId="75cafe6b-2f2a-469b-85c4-eec3b9c972ba" providerId="ADAL" clId="{605DCB96-06D3-48B1-8E32-01D11441D081}" dt="2024-01-21T12:30:43.620" v="1845" actId="700"/>
          <ac:spMkLst>
            <pc:docMk/>
            <pc:sldMk cId="1334180481" sldId="846"/>
            <ac:spMk id="7" creationId="{DA6227CD-6B0C-EC9E-DCAC-52FCBBC1CB69}"/>
          </ac:spMkLst>
        </pc:spChg>
        <pc:spChg chg="add mod">
          <ac:chgData name="Thomas Stensitzki" userId="75cafe6b-2f2a-469b-85c4-eec3b9c972ba" providerId="ADAL" clId="{605DCB96-06D3-48B1-8E32-01D11441D081}" dt="2024-01-29T17:23:37.897" v="3186" actId="13926"/>
          <ac:spMkLst>
            <pc:docMk/>
            <pc:sldMk cId="1334180481" sldId="846"/>
            <ac:spMk id="8" creationId="{F7DFEEAA-A84A-AEE9-D5ED-A3FCBA72F8BB}"/>
          </ac:spMkLst>
        </pc:spChg>
        <pc:spChg chg="add mod">
          <ac:chgData name="Thomas Stensitzki" userId="75cafe6b-2f2a-469b-85c4-eec3b9c972ba" providerId="ADAL" clId="{605DCB96-06D3-48B1-8E32-01D11441D081}" dt="2024-01-29T17:20:37.693" v="2996" actId="20577"/>
          <ac:spMkLst>
            <pc:docMk/>
            <pc:sldMk cId="1334180481" sldId="846"/>
            <ac:spMk id="9" creationId="{943A5B31-DE51-BBB7-2332-A1AF77EE315A}"/>
          </ac:spMkLst>
        </pc:spChg>
        <pc:picChg chg="add mod">
          <ac:chgData name="Thomas Stensitzki" userId="75cafe6b-2f2a-469b-85c4-eec3b9c972ba" providerId="ADAL" clId="{605DCB96-06D3-48B1-8E32-01D11441D081}" dt="2024-01-29T17:19:49.275" v="2979"/>
          <ac:picMkLst>
            <pc:docMk/>
            <pc:sldMk cId="1334180481" sldId="846"/>
            <ac:picMk id="10" creationId="{6587F43E-C166-13DC-2378-4C180F957D10}"/>
          </ac:picMkLst>
        </pc:picChg>
      </pc:sldChg>
      <pc:sldChg chg="addSp delSp modSp add mod ord">
        <pc:chgData name="Thomas Stensitzki" userId="75cafe6b-2f2a-469b-85c4-eec3b9c972ba" providerId="ADAL" clId="{605DCB96-06D3-48B1-8E32-01D11441D081}" dt="2024-01-29T17:18:49.001" v="2976" actId="6549"/>
        <pc:sldMkLst>
          <pc:docMk/>
          <pc:sldMk cId="218757620" sldId="847"/>
        </pc:sldMkLst>
        <pc:spChg chg="add mod">
          <ac:chgData name="Thomas Stensitzki" userId="75cafe6b-2f2a-469b-85c4-eec3b9c972ba" providerId="ADAL" clId="{605DCB96-06D3-48B1-8E32-01D11441D081}" dt="2024-01-29T17:09:07.593" v="2703" actId="13926"/>
          <ac:spMkLst>
            <pc:docMk/>
            <pc:sldMk cId="218757620" sldId="847"/>
            <ac:spMk id="2" creationId="{0C2E099A-1B53-7CF0-C616-966FF5D895F1}"/>
          </ac:spMkLst>
        </pc:spChg>
        <pc:spChg chg="mod">
          <ac:chgData name="Thomas Stensitzki" userId="75cafe6b-2f2a-469b-85c4-eec3b9c972ba" providerId="ADAL" clId="{605DCB96-06D3-48B1-8E32-01D11441D081}" dt="2024-01-29T17:03:24.084" v="2444" actId="20577"/>
          <ac:spMkLst>
            <pc:docMk/>
            <pc:sldMk cId="218757620" sldId="847"/>
            <ac:spMk id="4" creationId="{50E0B86D-1556-BBC3-E914-05AAA9147031}"/>
          </ac:spMkLst>
        </pc:spChg>
        <pc:spChg chg="mod">
          <ac:chgData name="Thomas Stensitzki" userId="75cafe6b-2f2a-469b-85c4-eec3b9c972ba" providerId="ADAL" clId="{605DCB96-06D3-48B1-8E32-01D11441D081}" dt="2024-01-29T17:03:47.424" v="2451" actId="113"/>
          <ac:spMkLst>
            <pc:docMk/>
            <pc:sldMk cId="218757620" sldId="847"/>
            <ac:spMk id="5" creationId="{5477B3F6-03FD-44B8-1FF4-36FA02A51DFB}"/>
          </ac:spMkLst>
        </pc:spChg>
        <pc:spChg chg="mod">
          <ac:chgData name="Thomas Stensitzki" userId="75cafe6b-2f2a-469b-85c4-eec3b9c972ba" providerId="ADAL" clId="{605DCB96-06D3-48B1-8E32-01D11441D081}" dt="2024-01-29T17:07:48.180" v="2548" actId="13926"/>
          <ac:spMkLst>
            <pc:docMk/>
            <pc:sldMk cId="218757620" sldId="847"/>
            <ac:spMk id="8" creationId="{84DE2B31-997A-C3A2-9672-B8BEA19D5F7B}"/>
          </ac:spMkLst>
        </pc:spChg>
        <pc:spChg chg="mod">
          <ac:chgData name="Thomas Stensitzki" userId="75cafe6b-2f2a-469b-85c4-eec3b9c972ba" providerId="ADAL" clId="{605DCB96-06D3-48B1-8E32-01D11441D081}" dt="2024-01-29T17:18:49.001" v="2976" actId="6549"/>
          <ac:spMkLst>
            <pc:docMk/>
            <pc:sldMk cId="218757620" sldId="847"/>
            <ac:spMk id="9" creationId="{81663ACA-246B-BF62-E4E5-6F33A4CB7FCE}"/>
          </ac:spMkLst>
        </pc:spChg>
        <pc:spChg chg="del">
          <ac:chgData name="Thomas Stensitzki" userId="75cafe6b-2f2a-469b-85c4-eec3b9c972ba" providerId="ADAL" clId="{605DCB96-06D3-48B1-8E32-01D11441D081}" dt="2024-01-29T17:02:55.175" v="2415" actId="478"/>
          <ac:spMkLst>
            <pc:docMk/>
            <pc:sldMk cId="218757620" sldId="847"/>
            <ac:spMk id="10" creationId="{2AF009F9-617A-9B78-937D-0CB38CC84B06}"/>
          </ac:spMkLst>
        </pc:spChg>
        <pc:spChg chg="del mod">
          <ac:chgData name="Thomas Stensitzki" userId="75cafe6b-2f2a-469b-85c4-eec3b9c972ba" providerId="ADAL" clId="{605DCB96-06D3-48B1-8E32-01D11441D081}" dt="2024-01-29T17:02:53.429" v="2414" actId="478"/>
          <ac:spMkLst>
            <pc:docMk/>
            <pc:sldMk cId="218757620" sldId="847"/>
            <ac:spMk id="11" creationId="{F28A8F29-C1B4-4BB0-F1E2-A87213F4FCBE}"/>
          </ac:spMkLst>
        </pc:spChg>
      </pc:sldChg>
      <pc:sldChg chg="addSp delSp modSp add mod">
        <pc:chgData name="Thomas Stensitzki" userId="75cafe6b-2f2a-469b-85c4-eec3b9c972ba" providerId="ADAL" clId="{605DCB96-06D3-48B1-8E32-01D11441D081}" dt="2024-01-29T17:19:11.479" v="2978" actId="6549"/>
        <pc:sldMkLst>
          <pc:docMk/>
          <pc:sldMk cId="3301997842" sldId="848"/>
        </pc:sldMkLst>
        <pc:spChg chg="del">
          <ac:chgData name="Thomas Stensitzki" userId="75cafe6b-2f2a-469b-85c4-eec3b9c972ba" providerId="ADAL" clId="{605DCB96-06D3-48B1-8E32-01D11441D081}" dt="2024-01-29T17:11:58.785" v="2705" actId="478"/>
          <ac:spMkLst>
            <pc:docMk/>
            <pc:sldMk cId="3301997842" sldId="848"/>
            <ac:spMk id="2" creationId="{0C2E099A-1B53-7CF0-C616-966FF5D895F1}"/>
          </ac:spMkLst>
        </pc:spChg>
        <pc:spChg chg="add mod">
          <ac:chgData name="Thomas Stensitzki" userId="75cafe6b-2f2a-469b-85c4-eec3b9c972ba" providerId="ADAL" clId="{605DCB96-06D3-48B1-8E32-01D11441D081}" dt="2024-01-29T17:12:01.070" v="2706"/>
          <ac:spMkLst>
            <pc:docMk/>
            <pc:sldMk cId="3301997842" sldId="848"/>
            <ac:spMk id="3" creationId="{A969F447-F1AF-844A-2DBB-BB284D8CD36F}"/>
          </ac:spMkLst>
        </pc:spChg>
        <pc:spChg chg="mod">
          <ac:chgData name="Thomas Stensitzki" userId="75cafe6b-2f2a-469b-85c4-eec3b9c972ba" providerId="ADAL" clId="{605DCB96-06D3-48B1-8E32-01D11441D081}" dt="2024-01-29T17:12:04.652" v="2708" actId="6549"/>
          <ac:spMkLst>
            <pc:docMk/>
            <pc:sldMk cId="3301997842" sldId="848"/>
            <ac:spMk id="4" creationId="{50E0B86D-1556-BBC3-E914-05AAA9147031}"/>
          </ac:spMkLst>
        </pc:spChg>
        <pc:spChg chg="del">
          <ac:chgData name="Thomas Stensitzki" userId="75cafe6b-2f2a-469b-85c4-eec3b9c972ba" providerId="ADAL" clId="{605DCB96-06D3-48B1-8E32-01D11441D081}" dt="2024-01-29T17:11:58.785" v="2705" actId="478"/>
          <ac:spMkLst>
            <pc:docMk/>
            <pc:sldMk cId="3301997842" sldId="848"/>
            <ac:spMk id="6" creationId="{9FDC71C9-2291-FE8A-7EF3-3D137F67DEED}"/>
          </ac:spMkLst>
        </pc:spChg>
        <pc:spChg chg="del">
          <ac:chgData name="Thomas Stensitzki" userId="75cafe6b-2f2a-469b-85c4-eec3b9c972ba" providerId="ADAL" clId="{605DCB96-06D3-48B1-8E32-01D11441D081}" dt="2024-01-29T17:11:58.785" v="2705" actId="478"/>
          <ac:spMkLst>
            <pc:docMk/>
            <pc:sldMk cId="3301997842" sldId="848"/>
            <ac:spMk id="7" creationId="{613F0A79-3DF8-474D-4E36-9B3EAC5582C0}"/>
          </ac:spMkLst>
        </pc:spChg>
        <pc:spChg chg="del">
          <ac:chgData name="Thomas Stensitzki" userId="75cafe6b-2f2a-469b-85c4-eec3b9c972ba" providerId="ADAL" clId="{605DCB96-06D3-48B1-8E32-01D11441D081}" dt="2024-01-29T17:11:58.785" v="2705" actId="478"/>
          <ac:spMkLst>
            <pc:docMk/>
            <pc:sldMk cId="3301997842" sldId="848"/>
            <ac:spMk id="8" creationId="{84DE2B31-997A-C3A2-9672-B8BEA19D5F7B}"/>
          </ac:spMkLst>
        </pc:spChg>
        <pc:spChg chg="del">
          <ac:chgData name="Thomas Stensitzki" userId="75cafe6b-2f2a-469b-85c4-eec3b9c972ba" providerId="ADAL" clId="{605DCB96-06D3-48B1-8E32-01D11441D081}" dt="2024-01-29T17:11:58.785" v="2705" actId="478"/>
          <ac:spMkLst>
            <pc:docMk/>
            <pc:sldMk cId="3301997842" sldId="848"/>
            <ac:spMk id="9" creationId="{81663ACA-246B-BF62-E4E5-6F33A4CB7FCE}"/>
          </ac:spMkLst>
        </pc:spChg>
        <pc:spChg chg="add mod">
          <ac:chgData name="Thomas Stensitzki" userId="75cafe6b-2f2a-469b-85c4-eec3b9c972ba" providerId="ADAL" clId="{605DCB96-06D3-48B1-8E32-01D11441D081}" dt="2024-01-29T17:12:01.070" v="2706"/>
          <ac:spMkLst>
            <pc:docMk/>
            <pc:sldMk cId="3301997842" sldId="848"/>
            <ac:spMk id="10" creationId="{54FF9FDF-F377-F1E8-91CF-54E5E50DBCE4}"/>
          </ac:spMkLst>
        </pc:spChg>
        <pc:spChg chg="add mod">
          <ac:chgData name="Thomas Stensitzki" userId="75cafe6b-2f2a-469b-85c4-eec3b9c972ba" providerId="ADAL" clId="{605DCB96-06D3-48B1-8E32-01D11441D081}" dt="2024-01-29T17:12:55.601" v="2742"/>
          <ac:spMkLst>
            <pc:docMk/>
            <pc:sldMk cId="3301997842" sldId="848"/>
            <ac:spMk id="11" creationId="{7440C4D9-C9B2-BA29-5A1F-0F13B73D7FCD}"/>
          </ac:spMkLst>
        </pc:spChg>
        <pc:spChg chg="add mod">
          <ac:chgData name="Thomas Stensitzki" userId="75cafe6b-2f2a-469b-85c4-eec3b9c972ba" providerId="ADAL" clId="{605DCB96-06D3-48B1-8E32-01D11441D081}" dt="2024-01-29T17:17:15.134" v="2850" actId="6549"/>
          <ac:spMkLst>
            <pc:docMk/>
            <pc:sldMk cId="3301997842" sldId="848"/>
            <ac:spMk id="13" creationId="{65EAFD78-C3D9-25B4-B862-186D55C0B53D}"/>
          </ac:spMkLst>
        </pc:spChg>
        <pc:spChg chg="add mod">
          <ac:chgData name="Thomas Stensitzki" userId="75cafe6b-2f2a-469b-85c4-eec3b9c972ba" providerId="ADAL" clId="{605DCB96-06D3-48B1-8E32-01D11441D081}" dt="2024-01-29T17:19:11.479" v="2978" actId="6549"/>
          <ac:spMkLst>
            <pc:docMk/>
            <pc:sldMk cId="3301997842" sldId="848"/>
            <ac:spMk id="14" creationId="{C689F498-F14F-0505-E267-09E71CA4D0EE}"/>
          </ac:spMkLst>
        </pc:spChg>
        <pc:spChg chg="add mod">
          <ac:chgData name="Thomas Stensitzki" userId="75cafe6b-2f2a-469b-85c4-eec3b9c972ba" providerId="ADAL" clId="{605DCB96-06D3-48B1-8E32-01D11441D081}" dt="2024-01-29T17:12:01.070" v="2706"/>
          <ac:spMkLst>
            <pc:docMk/>
            <pc:sldMk cId="3301997842" sldId="848"/>
            <ac:spMk id="15" creationId="{E9B61292-56B0-DCE4-65D8-C4D1DCFF84AB}"/>
          </ac:spMkLst>
        </pc:spChg>
        <pc:picChg chg="del">
          <ac:chgData name="Thomas Stensitzki" userId="75cafe6b-2f2a-469b-85c4-eec3b9c972ba" providerId="ADAL" clId="{605DCB96-06D3-48B1-8E32-01D11441D081}" dt="2024-01-29T17:11:58.785" v="2705" actId="478"/>
          <ac:picMkLst>
            <pc:docMk/>
            <pc:sldMk cId="3301997842" sldId="848"/>
            <ac:picMk id="12" creationId="{75F48581-F3BB-3E3D-CF56-6BE465C941CE}"/>
          </ac:picMkLst>
        </pc:picChg>
        <pc:picChg chg="add mod">
          <ac:chgData name="Thomas Stensitzki" userId="75cafe6b-2f2a-469b-85c4-eec3b9c972ba" providerId="ADAL" clId="{605DCB96-06D3-48B1-8E32-01D11441D081}" dt="2024-01-29T17:12:01.070" v="2706"/>
          <ac:picMkLst>
            <pc:docMk/>
            <pc:sldMk cId="3301997842" sldId="848"/>
            <ac:picMk id="16" creationId="{E47C894A-3553-9ACD-D165-FBE3DCBACFF8}"/>
          </ac:picMkLst>
        </pc:picChg>
      </pc:sldChg>
      <pc:sldChg chg="addSp delSp modSp add mod">
        <pc:chgData name="Thomas Stensitzki" userId="75cafe6b-2f2a-469b-85c4-eec3b9c972ba" providerId="ADAL" clId="{605DCB96-06D3-48B1-8E32-01D11441D081}" dt="2024-01-29T17:15:19.369" v="2835" actId="13926"/>
        <pc:sldMkLst>
          <pc:docMk/>
          <pc:sldMk cId="1381271849" sldId="849"/>
        </pc:sldMkLst>
        <pc:spChg chg="del">
          <ac:chgData name="Thomas Stensitzki" userId="75cafe6b-2f2a-469b-85c4-eec3b9c972ba" providerId="ADAL" clId="{605DCB96-06D3-48B1-8E32-01D11441D081}" dt="2024-01-29T17:14:06.500" v="2781" actId="478"/>
          <ac:spMkLst>
            <pc:docMk/>
            <pc:sldMk cId="1381271849" sldId="849"/>
            <ac:spMk id="3" creationId="{A969F447-F1AF-844A-2DBB-BB284D8CD36F}"/>
          </ac:spMkLst>
        </pc:spChg>
        <pc:spChg chg="mod">
          <ac:chgData name="Thomas Stensitzki" userId="75cafe6b-2f2a-469b-85c4-eec3b9c972ba" providerId="ADAL" clId="{605DCB96-06D3-48B1-8E32-01D11441D081}" dt="2024-01-29T17:14:02.155" v="2780" actId="6549"/>
          <ac:spMkLst>
            <pc:docMk/>
            <pc:sldMk cId="1381271849" sldId="849"/>
            <ac:spMk id="4" creationId="{50E0B86D-1556-BBC3-E914-05AAA9147031}"/>
          </ac:spMkLst>
        </pc:spChg>
        <pc:spChg chg="add mod">
          <ac:chgData name="Thomas Stensitzki" userId="75cafe6b-2f2a-469b-85c4-eec3b9c972ba" providerId="ADAL" clId="{605DCB96-06D3-48B1-8E32-01D11441D081}" dt="2024-01-29T17:14:21.366" v="2785"/>
          <ac:spMkLst>
            <pc:docMk/>
            <pc:sldMk cId="1381271849" sldId="849"/>
            <ac:spMk id="6" creationId="{6C7516BA-5A79-8F4B-7232-F46D0917B9AA}"/>
          </ac:spMkLst>
        </pc:spChg>
        <pc:spChg chg="add mod">
          <ac:chgData name="Thomas Stensitzki" userId="75cafe6b-2f2a-469b-85c4-eec3b9c972ba" providerId="ADAL" clId="{605DCB96-06D3-48B1-8E32-01D11441D081}" dt="2024-01-29T17:14:21.366" v="2785"/>
          <ac:spMkLst>
            <pc:docMk/>
            <pc:sldMk cId="1381271849" sldId="849"/>
            <ac:spMk id="7" creationId="{59AC1EE7-FF74-B23F-DEF0-59756B62C986}"/>
          </ac:spMkLst>
        </pc:spChg>
        <pc:spChg chg="add mod">
          <ac:chgData name="Thomas Stensitzki" userId="75cafe6b-2f2a-469b-85c4-eec3b9c972ba" providerId="ADAL" clId="{605DCB96-06D3-48B1-8E32-01D11441D081}" dt="2024-01-29T17:15:19.369" v="2835" actId="13926"/>
          <ac:spMkLst>
            <pc:docMk/>
            <pc:sldMk cId="1381271849" sldId="849"/>
            <ac:spMk id="8" creationId="{1475B0D4-50FB-9186-DEB1-FBEFD3A85F3D}"/>
          </ac:spMkLst>
        </pc:spChg>
        <pc:spChg chg="add mod">
          <ac:chgData name="Thomas Stensitzki" userId="75cafe6b-2f2a-469b-85c4-eec3b9c972ba" providerId="ADAL" clId="{605DCB96-06D3-48B1-8E32-01D11441D081}" dt="2024-01-29T17:14:21.366" v="2785"/>
          <ac:spMkLst>
            <pc:docMk/>
            <pc:sldMk cId="1381271849" sldId="849"/>
            <ac:spMk id="9" creationId="{89B6B640-086F-25A4-96EE-356DFB369C2C}"/>
          </ac:spMkLst>
        </pc:spChg>
        <pc:spChg chg="del">
          <ac:chgData name="Thomas Stensitzki" userId="75cafe6b-2f2a-469b-85c4-eec3b9c972ba" providerId="ADAL" clId="{605DCB96-06D3-48B1-8E32-01D11441D081}" dt="2024-01-29T17:14:06.500" v="2781" actId="478"/>
          <ac:spMkLst>
            <pc:docMk/>
            <pc:sldMk cId="1381271849" sldId="849"/>
            <ac:spMk id="10" creationId="{54FF9FDF-F377-F1E8-91CF-54E5E50DBCE4}"/>
          </ac:spMkLst>
        </pc:spChg>
        <pc:spChg chg="del">
          <ac:chgData name="Thomas Stensitzki" userId="75cafe6b-2f2a-469b-85c4-eec3b9c972ba" providerId="ADAL" clId="{605DCB96-06D3-48B1-8E32-01D11441D081}" dt="2024-01-29T17:14:06.500" v="2781" actId="478"/>
          <ac:spMkLst>
            <pc:docMk/>
            <pc:sldMk cId="1381271849" sldId="849"/>
            <ac:spMk id="11" creationId="{7440C4D9-C9B2-BA29-5A1F-0F13B73D7FCD}"/>
          </ac:spMkLst>
        </pc:spChg>
        <pc:spChg chg="add mod">
          <ac:chgData name="Thomas Stensitzki" userId="75cafe6b-2f2a-469b-85c4-eec3b9c972ba" providerId="ADAL" clId="{605DCB96-06D3-48B1-8E32-01D11441D081}" dt="2024-01-29T17:14:21.366" v="2785"/>
          <ac:spMkLst>
            <pc:docMk/>
            <pc:sldMk cId="1381271849" sldId="849"/>
            <ac:spMk id="12" creationId="{0407CE1F-8391-35D4-8AB0-C162CF9EDE91}"/>
          </ac:spMkLst>
        </pc:spChg>
        <pc:spChg chg="del">
          <ac:chgData name="Thomas Stensitzki" userId="75cafe6b-2f2a-469b-85c4-eec3b9c972ba" providerId="ADAL" clId="{605DCB96-06D3-48B1-8E32-01D11441D081}" dt="2024-01-29T17:14:06.500" v="2781" actId="478"/>
          <ac:spMkLst>
            <pc:docMk/>
            <pc:sldMk cId="1381271849" sldId="849"/>
            <ac:spMk id="13" creationId="{65EAFD78-C3D9-25B4-B862-186D55C0B53D}"/>
          </ac:spMkLst>
        </pc:spChg>
        <pc:spChg chg="del">
          <ac:chgData name="Thomas Stensitzki" userId="75cafe6b-2f2a-469b-85c4-eec3b9c972ba" providerId="ADAL" clId="{605DCB96-06D3-48B1-8E32-01D11441D081}" dt="2024-01-29T17:14:06.500" v="2781" actId="478"/>
          <ac:spMkLst>
            <pc:docMk/>
            <pc:sldMk cId="1381271849" sldId="849"/>
            <ac:spMk id="14" creationId="{C689F498-F14F-0505-E267-09E71CA4D0EE}"/>
          </ac:spMkLst>
        </pc:spChg>
        <pc:spChg chg="del">
          <ac:chgData name="Thomas Stensitzki" userId="75cafe6b-2f2a-469b-85c4-eec3b9c972ba" providerId="ADAL" clId="{605DCB96-06D3-48B1-8E32-01D11441D081}" dt="2024-01-29T17:14:14.570" v="2782" actId="478"/>
          <ac:spMkLst>
            <pc:docMk/>
            <pc:sldMk cId="1381271849" sldId="849"/>
            <ac:spMk id="15" creationId="{E9B61292-56B0-DCE4-65D8-C4D1DCFF84AB}"/>
          </ac:spMkLst>
        </pc:spChg>
        <pc:spChg chg="add mod">
          <ac:chgData name="Thomas Stensitzki" userId="75cafe6b-2f2a-469b-85c4-eec3b9c972ba" providerId="ADAL" clId="{605DCB96-06D3-48B1-8E32-01D11441D081}" dt="2024-01-29T17:14:41.876" v="2831" actId="20577"/>
          <ac:spMkLst>
            <pc:docMk/>
            <pc:sldMk cId="1381271849" sldId="849"/>
            <ac:spMk id="17" creationId="{D67D460B-548C-6814-2171-D61C7383DF02}"/>
          </ac:spMkLst>
        </pc:spChg>
        <pc:picChg chg="add del">
          <ac:chgData name="Thomas Stensitzki" userId="75cafe6b-2f2a-469b-85c4-eec3b9c972ba" providerId="ADAL" clId="{605DCB96-06D3-48B1-8E32-01D11441D081}" dt="2024-01-29T17:14:19.379" v="2784"/>
          <ac:picMkLst>
            <pc:docMk/>
            <pc:sldMk cId="1381271849" sldId="849"/>
            <ac:picMk id="2" creationId="{BED5A0B8-2CA5-332D-234F-EEF978F9592E}"/>
          </ac:picMkLst>
        </pc:picChg>
        <pc:picChg chg="del">
          <ac:chgData name="Thomas Stensitzki" userId="75cafe6b-2f2a-469b-85c4-eec3b9c972ba" providerId="ADAL" clId="{605DCB96-06D3-48B1-8E32-01D11441D081}" dt="2024-01-29T17:14:06.500" v="2781" actId="478"/>
          <ac:picMkLst>
            <pc:docMk/>
            <pc:sldMk cId="1381271849" sldId="849"/>
            <ac:picMk id="16" creationId="{E47C894A-3553-9ACD-D165-FBE3DCBACFF8}"/>
          </ac:picMkLst>
        </pc:picChg>
        <pc:picChg chg="add mod">
          <ac:chgData name="Thomas Stensitzki" userId="75cafe6b-2f2a-469b-85c4-eec3b9c972ba" providerId="ADAL" clId="{605DCB96-06D3-48B1-8E32-01D11441D081}" dt="2024-01-29T17:14:21.366" v="2785"/>
          <ac:picMkLst>
            <pc:docMk/>
            <pc:sldMk cId="1381271849" sldId="849"/>
            <ac:picMk id="18" creationId="{796D280F-911C-4136-93D4-5263E248ABC0}"/>
          </ac:picMkLst>
        </pc:picChg>
      </pc:sldChg>
      <pc:sldChg chg="modSp add mod ord">
        <pc:chgData name="Thomas Stensitzki" userId="75cafe6b-2f2a-469b-85c4-eec3b9c972ba" providerId="ADAL" clId="{605DCB96-06D3-48B1-8E32-01D11441D081}" dt="2024-01-29T17:36:05.686" v="3271" actId="13926"/>
        <pc:sldMkLst>
          <pc:docMk/>
          <pc:sldMk cId="3381817869" sldId="850"/>
        </pc:sldMkLst>
        <pc:spChg chg="mod">
          <ac:chgData name="Thomas Stensitzki" userId="75cafe6b-2f2a-469b-85c4-eec3b9c972ba" providerId="ADAL" clId="{605DCB96-06D3-48B1-8E32-01D11441D081}" dt="2024-01-29T17:36:05.686" v="3271" actId="13926"/>
          <ac:spMkLst>
            <pc:docMk/>
            <pc:sldMk cId="3381817869" sldId="850"/>
            <ac:spMk id="6" creationId="{605B4861-C0C4-7576-0132-B30936735262}"/>
          </ac:spMkLst>
        </pc:spChg>
        <pc:spChg chg="mod">
          <ac:chgData name="Thomas Stensitzki" userId="75cafe6b-2f2a-469b-85c4-eec3b9c972ba" providerId="ADAL" clId="{605DCB96-06D3-48B1-8E32-01D11441D081}" dt="2024-01-29T17:30:55.078" v="3197" actId="13926"/>
          <ac:spMkLst>
            <pc:docMk/>
            <pc:sldMk cId="3381817869" sldId="850"/>
            <ac:spMk id="7" creationId="{72544E22-3A19-4871-8A38-FC15B58F56D7}"/>
          </ac:spMkLst>
        </pc:spChg>
        <pc:spChg chg="mod">
          <ac:chgData name="Thomas Stensitzki" userId="75cafe6b-2f2a-469b-85c4-eec3b9c972ba" providerId="ADAL" clId="{605DCB96-06D3-48B1-8E32-01D11441D081}" dt="2024-01-29T17:35:42.788" v="3269" actId="13926"/>
          <ac:spMkLst>
            <pc:docMk/>
            <pc:sldMk cId="3381817869" sldId="850"/>
            <ac:spMk id="8" creationId="{1CA76969-D0A9-6132-1511-F8A15CC570AC}"/>
          </ac:spMkLst>
        </pc:spChg>
        <pc:spChg chg="mod">
          <ac:chgData name="Thomas Stensitzki" userId="75cafe6b-2f2a-469b-85c4-eec3b9c972ba" providerId="ADAL" clId="{605DCB96-06D3-48B1-8E32-01D11441D081}" dt="2024-01-29T17:31:13.945" v="3229" actId="6549"/>
          <ac:spMkLst>
            <pc:docMk/>
            <pc:sldMk cId="3381817869" sldId="850"/>
            <ac:spMk id="11" creationId="{B1356A7B-BF03-11D0-0475-2101F7933A4D}"/>
          </ac:spMkLst>
        </pc:spChg>
        <pc:spChg chg="mod">
          <ac:chgData name="Thomas Stensitzki" userId="75cafe6b-2f2a-469b-85c4-eec3b9c972ba" providerId="ADAL" clId="{605DCB96-06D3-48B1-8E32-01D11441D081}" dt="2024-01-29T17:31:28.782" v="3231" actId="13926"/>
          <ac:spMkLst>
            <pc:docMk/>
            <pc:sldMk cId="3381817869" sldId="850"/>
            <ac:spMk id="12" creationId="{02396286-3697-9805-0E50-340937E96C42}"/>
          </ac:spMkLst>
        </pc:spChg>
      </pc:sldChg>
      <pc:sldChg chg="addSp modSp add mod">
        <pc:chgData name="Thomas Stensitzki" userId="75cafe6b-2f2a-469b-85c4-eec3b9c972ba" providerId="ADAL" clId="{605DCB96-06D3-48B1-8E32-01D11441D081}" dt="2024-01-30T09:22:05.189" v="3457" actId="1076"/>
        <pc:sldMkLst>
          <pc:docMk/>
          <pc:sldMk cId="3848086407" sldId="851"/>
        </pc:sldMkLst>
        <pc:spChg chg="mod">
          <ac:chgData name="Thomas Stensitzki" userId="75cafe6b-2f2a-469b-85c4-eec3b9c972ba" providerId="ADAL" clId="{605DCB96-06D3-48B1-8E32-01D11441D081}" dt="2024-01-30T09:22:05.189" v="3457" actId="1076"/>
          <ac:spMkLst>
            <pc:docMk/>
            <pc:sldMk cId="3848086407" sldId="851"/>
            <ac:spMk id="6" creationId="{605B4861-C0C4-7576-0132-B30936735262}"/>
          </ac:spMkLst>
        </pc:spChg>
        <pc:spChg chg="mod">
          <ac:chgData name="Thomas Stensitzki" userId="75cafe6b-2f2a-469b-85c4-eec3b9c972ba" providerId="ADAL" clId="{605DCB96-06D3-48B1-8E32-01D11441D081}" dt="2024-01-29T17:39:08.651" v="3405" actId="6549"/>
          <ac:spMkLst>
            <pc:docMk/>
            <pc:sldMk cId="3848086407" sldId="851"/>
            <ac:spMk id="8" creationId="{1CA76969-D0A9-6132-1511-F8A15CC570AC}"/>
          </ac:spMkLst>
        </pc:spChg>
        <pc:spChg chg="mod">
          <ac:chgData name="Thomas Stensitzki" userId="75cafe6b-2f2a-469b-85c4-eec3b9c972ba" providerId="ADAL" clId="{605DCB96-06D3-48B1-8E32-01D11441D081}" dt="2024-01-29T17:40:15.622" v="3455" actId="20577"/>
          <ac:spMkLst>
            <pc:docMk/>
            <pc:sldMk cId="3848086407" sldId="851"/>
            <ac:spMk id="12" creationId="{02396286-3697-9805-0E50-340937E96C42}"/>
          </ac:spMkLst>
        </pc:spChg>
        <pc:spChg chg="mod">
          <ac:chgData name="Thomas Stensitzki" userId="75cafe6b-2f2a-469b-85c4-eec3b9c972ba" providerId="ADAL" clId="{605DCB96-06D3-48B1-8E32-01D11441D081}" dt="2024-01-29T17:39:48.868" v="3436" actId="20577"/>
          <ac:spMkLst>
            <pc:docMk/>
            <pc:sldMk cId="3848086407" sldId="851"/>
            <ac:spMk id="13" creationId="{19D7BD80-5957-353F-7CBF-91FD671A1595}"/>
          </ac:spMkLst>
        </pc:spChg>
        <pc:picChg chg="add mod">
          <ac:chgData name="Thomas Stensitzki" userId="75cafe6b-2f2a-469b-85c4-eec3b9c972ba" providerId="ADAL" clId="{605DCB96-06D3-48B1-8E32-01D11441D081}" dt="2024-01-29T17:39:56.949" v="3438" actId="1076"/>
          <ac:picMkLst>
            <pc:docMk/>
            <pc:sldMk cId="3848086407" sldId="851"/>
            <ac:picMk id="16" creationId="{2DD8B246-949D-08FD-A7A1-DA9BEFC7D4AB}"/>
          </ac:picMkLst>
        </pc:picChg>
        <pc:cxnChg chg="mod">
          <ac:chgData name="Thomas Stensitzki" userId="75cafe6b-2f2a-469b-85c4-eec3b9c972ba" providerId="ADAL" clId="{605DCB96-06D3-48B1-8E32-01D11441D081}" dt="2024-01-29T17:40:02.085" v="3439" actId="14100"/>
          <ac:cxnSpMkLst>
            <pc:docMk/>
            <pc:sldMk cId="3848086407" sldId="851"/>
            <ac:cxnSpMk id="15" creationId="{8A0CB6D7-A1D0-A733-75FD-772BB5D91A9A}"/>
          </ac:cxnSpMkLst>
        </pc:cxnChg>
      </pc:sldChg>
      <pc:sldMasterChg chg="delSldLayout">
        <pc:chgData name="Thomas Stensitzki" userId="75cafe6b-2f2a-469b-85c4-eec3b9c972ba" providerId="ADAL" clId="{605DCB96-06D3-48B1-8E32-01D11441D081}" dt="2024-01-18T08:01:03.852" v="287" actId="18676"/>
        <pc:sldMasterMkLst>
          <pc:docMk/>
          <pc:sldMasterMk cId="1187222015" sldId="2147483673"/>
        </pc:sldMasterMkLst>
        <pc:sldLayoutChg chg="del">
          <pc:chgData name="Thomas Stensitzki" userId="75cafe6b-2f2a-469b-85c4-eec3b9c972ba" providerId="ADAL" clId="{605DCB96-06D3-48B1-8E32-01D11441D081}" dt="2024-01-18T08:01:03.852" v="287" actId="18676"/>
          <pc:sldLayoutMkLst>
            <pc:docMk/>
            <pc:sldMasterMk cId="1187222015" sldId="2147483673"/>
            <pc:sldLayoutMk cId="1294034411" sldId="2147483700"/>
          </pc:sldLayoutMkLst>
        </pc:sldLayoutChg>
        <pc:sldLayoutChg chg="del">
          <pc:chgData name="Thomas Stensitzki" userId="75cafe6b-2f2a-469b-85c4-eec3b9c972ba" providerId="ADAL" clId="{605DCB96-06D3-48B1-8E32-01D11441D081}" dt="2024-01-18T08:01:03.852" v="287" actId="18676"/>
          <pc:sldLayoutMkLst>
            <pc:docMk/>
            <pc:sldMasterMk cId="1187222015" sldId="2147483673"/>
            <pc:sldLayoutMk cId="3683642004" sldId="2147483743"/>
          </pc:sldLayoutMkLst>
        </pc:sldLayoutChg>
      </pc:sldMasterChg>
      <pc:sldMasterChg chg="delSldLayout">
        <pc:chgData name="Thomas Stensitzki" userId="75cafe6b-2f2a-469b-85c4-eec3b9c972ba" providerId="ADAL" clId="{605DCB96-06D3-48B1-8E32-01D11441D081}" dt="2024-01-18T08:25:14.106" v="668" actId="47"/>
        <pc:sldMasterMkLst>
          <pc:docMk/>
          <pc:sldMasterMk cId="540365645" sldId="2147483711"/>
        </pc:sldMasterMkLst>
        <pc:sldLayoutChg chg="del">
          <pc:chgData name="Thomas Stensitzki" userId="75cafe6b-2f2a-469b-85c4-eec3b9c972ba" providerId="ADAL" clId="{605DCB96-06D3-48B1-8E32-01D11441D081}" dt="2024-01-18T08:25:14.106" v="668" actId="47"/>
          <pc:sldLayoutMkLst>
            <pc:docMk/>
            <pc:sldMasterMk cId="540365645" sldId="2147483711"/>
            <pc:sldLayoutMk cId="3160471526" sldId="2147483731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ptos" panose="020B00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50B8FC-714E-48A2-8E44-56D25F758704}" type="datetimeFigureOut">
              <a:rPr lang="de-DE" smtClean="0">
                <a:latin typeface="Aptos" panose="020B0004020202020204" pitchFamily="34" charset="0"/>
              </a:rPr>
              <a:t>30.01.2024</a:t>
            </a:fld>
            <a:endParaRPr lang="de-DE" dirty="0">
              <a:latin typeface="Aptos" panose="020B00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Aptos" panose="020B00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825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EA0638-1204-433B-84FC-523B5B170F5E}" type="slidenum">
              <a:rPr lang="de-DE" smtClean="0">
                <a:latin typeface="Aptos" panose="020B0004020202020204" pitchFamily="34" charset="0"/>
              </a:rPr>
              <a:t>‹Nr.›</a:t>
            </a:fld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1859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ptos" panose="020B00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ptos" panose="020B0004020202020204" pitchFamily="34" charset="0"/>
              </a:defRPr>
            </a:lvl1pPr>
          </a:lstStyle>
          <a:p>
            <a:fld id="{569C9874-DE1E-48CB-A603-4C70CD126593}" type="datetimeFigureOut">
              <a:rPr lang="de-DE" smtClean="0"/>
              <a:pPr/>
              <a:t>30.01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5400" y="744538"/>
            <a:ext cx="661828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ptos" panose="020B00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ptos" panose="020B0004020202020204" pitchFamily="34" charset="0"/>
              </a:defRPr>
            </a:lvl1pPr>
          </a:lstStyle>
          <a:p>
            <a:fld id="{C14CEB38-DA38-4F43-AFB8-94FE45CA586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976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35" rtl="0" eaLnBrk="1" latinLnBrk="0" hangingPunct="1">
      <a:defRPr sz="1200"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1pPr>
    <a:lvl2pPr marL="457018" algn="l" defTabSz="914035" rtl="0" eaLnBrk="1" latinLnBrk="0" hangingPunct="1">
      <a:defRPr sz="1200"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2pPr>
    <a:lvl3pPr marL="914035" algn="l" defTabSz="914035" rtl="0" eaLnBrk="1" latinLnBrk="0" hangingPunct="1">
      <a:defRPr sz="1200"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3pPr>
    <a:lvl4pPr marL="1371054" algn="l" defTabSz="914035" rtl="0" eaLnBrk="1" latinLnBrk="0" hangingPunct="1">
      <a:defRPr sz="1200"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4pPr>
    <a:lvl5pPr marL="1828069" algn="l" defTabSz="914035" rtl="0" eaLnBrk="1" latinLnBrk="0" hangingPunct="1">
      <a:defRPr sz="1200"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5pPr>
    <a:lvl6pPr marL="2285086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104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138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7"/>
          <p:cNvSpPr txBox="1">
            <a:spLocks noGrp="1" noChangeArrowheads="1"/>
          </p:cNvSpPr>
          <p:nvPr/>
        </p:nvSpPr>
        <p:spPr bwMode="auto">
          <a:xfrm>
            <a:off x="3777608" y="9428583"/>
            <a:ext cx="288993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6" tIns="45713" rIns="91426" bIns="45713" anchor="b"/>
          <a:lstStyle/>
          <a:p>
            <a:pPr algn="r"/>
            <a:fld id="{F57D06E3-AE3D-498F-94DB-DD6B1B9AA1BA}" type="slidenum">
              <a:rPr lang="en-US" sz="1200" noProof="1" smtClean="0">
                <a:latin typeface="Aptos" panose="020B0004020202020204" pitchFamily="34" charset="0"/>
              </a:rPr>
              <a:pPr algn="r"/>
              <a:t>1</a:t>
            </a:fld>
            <a:endParaRPr lang="en-US" sz="1200" noProof="1">
              <a:latin typeface="Aptos" panose="020B0004020202020204" pitchFamily="34" charset="0"/>
            </a:endParaRPr>
          </a:p>
        </p:txBody>
      </p:sp>
      <p:sp>
        <p:nvSpPr>
          <p:cNvPr id="231427" name="Rectangle 7"/>
          <p:cNvSpPr txBox="1">
            <a:spLocks noGrp="1" noChangeArrowheads="1"/>
          </p:cNvSpPr>
          <p:nvPr/>
        </p:nvSpPr>
        <p:spPr bwMode="auto">
          <a:xfrm>
            <a:off x="3780695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09" tIns="47409" rIns="94809" bIns="47409" anchor="b"/>
          <a:lstStyle/>
          <a:p>
            <a:pPr algn="r" defTabSz="947592"/>
            <a:fld id="{4325F0E8-AEB7-4879-A06E-A5A28001E07F}" type="slidenum">
              <a:rPr lang="en-US" sz="1300" smtClean="0">
                <a:latin typeface="Aptos" panose="020B0004020202020204" pitchFamily="34" charset="0"/>
              </a:rPr>
              <a:pPr algn="r" defTabSz="947592"/>
              <a:t>1</a:t>
            </a:fld>
            <a:endParaRPr lang="en-US" sz="1300" dirty="0">
              <a:latin typeface="Aptos" panose="020B0004020202020204" pitchFamily="34" charset="0"/>
            </a:endParaRPr>
          </a:p>
        </p:txBody>
      </p:sp>
      <p:sp>
        <p:nvSpPr>
          <p:cNvPr id="2314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400" y="744538"/>
            <a:ext cx="6619875" cy="3724275"/>
          </a:xfrm>
          <a:ln/>
        </p:spPr>
      </p:sp>
      <p:sp>
        <p:nvSpPr>
          <p:cNvPr id="2314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3" y="4715154"/>
            <a:ext cx="4890665" cy="4466987"/>
          </a:xfrm>
          <a:noFill/>
          <a:ln/>
        </p:spPr>
        <p:txBody>
          <a:bodyPr lIns="94809" tIns="47409" rIns="94809" bIns="47409"/>
          <a:lstStyle/>
          <a:p>
            <a:pPr eaLnBrk="1" hangingPunct="1"/>
            <a:endParaRPr lang="en-US" noProof="1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98301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714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8871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0668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8197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2972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032153-21C8-4F20-82E9-50F2315B302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9341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032153-21C8-4F20-82E9-50F2315B302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99762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032153-21C8-4F20-82E9-50F2315B302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18447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7"/>
          <p:cNvSpPr txBox="1">
            <a:spLocks noGrp="1" noChangeArrowheads="1"/>
          </p:cNvSpPr>
          <p:nvPr/>
        </p:nvSpPr>
        <p:spPr bwMode="auto">
          <a:xfrm>
            <a:off x="3777608" y="9428583"/>
            <a:ext cx="288993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6" tIns="45713" rIns="91426" bIns="45713" anchor="b"/>
          <a:lstStyle/>
          <a:p>
            <a:pPr algn="r"/>
            <a:fld id="{F57D06E3-AE3D-498F-94DB-DD6B1B9AA1BA}" type="slidenum">
              <a:rPr lang="en-US" sz="1200" noProof="1" smtClean="0">
                <a:latin typeface="Aptos" panose="020B0004020202020204" pitchFamily="34" charset="0"/>
              </a:rPr>
              <a:pPr algn="r"/>
              <a:t>21</a:t>
            </a:fld>
            <a:endParaRPr lang="en-US" sz="1200" noProof="1">
              <a:latin typeface="Aptos" panose="020B0004020202020204" pitchFamily="34" charset="0"/>
            </a:endParaRPr>
          </a:p>
        </p:txBody>
      </p:sp>
      <p:sp>
        <p:nvSpPr>
          <p:cNvPr id="231427" name="Rectangle 7"/>
          <p:cNvSpPr txBox="1">
            <a:spLocks noGrp="1" noChangeArrowheads="1"/>
          </p:cNvSpPr>
          <p:nvPr/>
        </p:nvSpPr>
        <p:spPr bwMode="auto">
          <a:xfrm>
            <a:off x="3780695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09" tIns="47409" rIns="94809" bIns="47409" anchor="b"/>
          <a:lstStyle/>
          <a:p>
            <a:pPr algn="r" defTabSz="947592"/>
            <a:fld id="{4325F0E8-AEB7-4879-A06E-A5A28001E07F}" type="slidenum">
              <a:rPr lang="en-US" sz="1300" smtClean="0">
                <a:latin typeface="Aptos" panose="020B0004020202020204" pitchFamily="34" charset="0"/>
              </a:rPr>
              <a:pPr algn="r" defTabSz="947592"/>
              <a:t>21</a:t>
            </a:fld>
            <a:endParaRPr lang="en-US" sz="1300" dirty="0">
              <a:latin typeface="Aptos" panose="020B0004020202020204" pitchFamily="34" charset="0"/>
            </a:endParaRPr>
          </a:p>
        </p:txBody>
      </p:sp>
      <p:sp>
        <p:nvSpPr>
          <p:cNvPr id="2314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400" y="744538"/>
            <a:ext cx="6619875" cy="3724275"/>
          </a:xfrm>
          <a:ln/>
        </p:spPr>
      </p:sp>
      <p:sp>
        <p:nvSpPr>
          <p:cNvPr id="2314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3" y="4715154"/>
            <a:ext cx="4890665" cy="4466987"/>
          </a:xfrm>
          <a:noFill/>
          <a:ln/>
        </p:spPr>
        <p:txBody>
          <a:bodyPr lIns="94809" tIns="47409" rIns="94809" bIns="47409"/>
          <a:lstStyle/>
          <a:p>
            <a:pPr eaLnBrk="1" hangingPunct="1"/>
            <a:endParaRPr lang="en-US" noProof="1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06141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 userDrawn="1"/>
        </p:nvGrpSpPr>
        <p:grpSpPr>
          <a:xfrm>
            <a:off x="-279398" y="0"/>
            <a:ext cx="12749214" cy="6858000"/>
            <a:chOff x="-279400" y="0"/>
            <a:chExt cx="12749213" cy="6858000"/>
          </a:xfrm>
        </p:grpSpPr>
        <p:sp>
          <p:nvSpPr>
            <p:cNvPr id="19" name="Rechteck 18"/>
            <p:cNvSpPr/>
            <p:nvPr userDrawn="1"/>
          </p:nvSpPr>
          <p:spPr>
            <a:xfrm>
              <a:off x="-12138" y="0"/>
              <a:ext cx="12202556" cy="6858000"/>
            </a:xfrm>
            <a:prstGeom prst="rect">
              <a:avLst/>
            </a:prstGeom>
            <a:solidFill>
              <a:srgbClr val="8D9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ptos" panose="020B0004020202020204" pitchFamily="34" charset="0"/>
              </a:endParaRPr>
            </a:p>
          </p:txBody>
        </p:sp>
        <p:grpSp>
          <p:nvGrpSpPr>
            <p:cNvPr id="12" name="Gruppieren 11"/>
            <p:cNvGrpSpPr/>
            <p:nvPr userDrawn="1"/>
          </p:nvGrpSpPr>
          <p:grpSpPr>
            <a:xfrm>
              <a:off x="-279400" y="3046413"/>
              <a:ext cx="12749213" cy="3163887"/>
              <a:chOff x="-276225" y="3046413"/>
              <a:chExt cx="12749213" cy="3163887"/>
            </a:xfrm>
            <a:solidFill>
              <a:schemeClr val="bg1"/>
            </a:solidFill>
          </p:grpSpPr>
          <p:sp>
            <p:nvSpPr>
              <p:cNvPr id="14" name="Freeform 7"/>
              <p:cNvSpPr>
                <a:spLocks noEditPoints="1"/>
              </p:cNvSpPr>
              <p:nvPr userDrawn="1"/>
            </p:nvSpPr>
            <p:spPr bwMode="auto">
              <a:xfrm>
                <a:off x="-276225" y="3046413"/>
                <a:ext cx="12749213" cy="3163887"/>
              </a:xfrm>
              <a:custGeom>
                <a:avLst/>
                <a:gdLst>
                  <a:gd name="T0" fmla="*/ 3618 w 4014"/>
                  <a:gd name="T1" fmla="*/ 28 h 996"/>
                  <a:gd name="T2" fmla="*/ 3397 w 4014"/>
                  <a:gd name="T3" fmla="*/ 411 h 996"/>
                  <a:gd name="T4" fmla="*/ 2836 w 4014"/>
                  <a:gd name="T5" fmla="*/ 365 h 996"/>
                  <a:gd name="T6" fmla="*/ 2841 w 4014"/>
                  <a:gd name="T7" fmla="*/ 65 h 996"/>
                  <a:gd name="T8" fmla="*/ 2685 w 4014"/>
                  <a:gd name="T9" fmla="*/ 168 h 996"/>
                  <a:gd name="T10" fmla="*/ 2523 w 4014"/>
                  <a:gd name="T11" fmla="*/ 134 h 996"/>
                  <a:gd name="T12" fmla="*/ 2553 w 4014"/>
                  <a:gd name="T13" fmla="*/ 407 h 996"/>
                  <a:gd name="T14" fmla="*/ 1431 w 4014"/>
                  <a:gd name="T15" fmla="*/ 508 h 996"/>
                  <a:gd name="T16" fmla="*/ 1378 w 4014"/>
                  <a:gd name="T17" fmla="*/ 180 h 996"/>
                  <a:gd name="T18" fmla="*/ 1149 w 4014"/>
                  <a:gd name="T19" fmla="*/ 430 h 996"/>
                  <a:gd name="T20" fmla="*/ 794 w 4014"/>
                  <a:gd name="T21" fmla="*/ 80 h 996"/>
                  <a:gd name="T22" fmla="*/ 780 w 4014"/>
                  <a:gd name="T23" fmla="*/ 87 h 996"/>
                  <a:gd name="T24" fmla="*/ 706 w 4014"/>
                  <a:gd name="T25" fmla="*/ 344 h 996"/>
                  <a:gd name="T26" fmla="*/ 231 w 4014"/>
                  <a:gd name="T27" fmla="*/ 199 h 996"/>
                  <a:gd name="T28" fmla="*/ 84 w 4014"/>
                  <a:gd name="T29" fmla="*/ 207 h 996"/>
                  <a:gd name="T30" fmla="*/ 230 w 4014"/>
                  <a:gd name="T31" fmla="*/ 516 h 996"/>
                  <a:gd name="T32" fmla="*/ 244 w 4014"/>
                  <a:gd name="T33" fmla="*/ 523 h 996"/>
                  <a:gd name="T34" fmla="*/ 653 w 4014"/>
                  <a:gd name="T35" fmla="*/ 397 h 996"/>
                  <a:gd name="T36" fmla="*/ 902 w 4014"/>
                  <a:gd name="T37" fmla="*/ 346 h 996"/>
                  <a:gd name="T38" fmla="*/ 1068 w 4014"/>
                  <a:gd name="T39" fmla="*/ 567 h 996"/>
                  <a:gd name="T40" fmla="*/ 1073 w 4014"/>
                  <a:gd name="T41" fmla="*/ 583 h 996"/>
                  <a:gd name="T42" fmla="*/ 1341 w 4014"/>
                  <a:gd name="T43" fmla="*/ 711 h 996"/>
                  <a:gd name="T44" fmla="*/ 1353 w 4014"/>
                  <a:gd name="T45" fmla="*/ 641 h 996"/>
                  <a:gd name="T46" fmla="*/ 2350 w 4014"/>
                  <a:gd name="T47" fmla="*/ 651 h 996"/>
                  <a:gd name="T48" fmla="*/ 2757 w 4014"/>
                  <a:gd name="T49" fmla="*/ 535 h 996"/>
                  <a:gd name="T50" fmla="*/ 2773 w 4014"/>
                  <a:gd name="T51" fmla="*/ 530 h 996"/>
                  <a:gd name="T52" fmla="*/ 3085 w 4014"/>
                  <a:gd name="T53" fmla="*/ 622 h 996"/>
                  <a:gd name="T54" fmla="*/ 3065 w 4014"/>
                  <a:gd name="T55" fmla="*/ 833 h 996"/>
                  <a:gd name="T56" fmla="*/ 3459 w 4014"/>
                  <a:gd name="T57" fmla="*/ 656 h 996"/>
                  <a:gd name="T58" fmla="*/ 3464 w 4014"/>
                  <a:gd name="T59" fmla="*/ 641 h 996"/>
                  <a:gd name="T60" fmla="*/ 3442 w 4014"/>
                  <a:gd name="T61" fmla="*/ 456 h 996"/>
                  <a:gd name="T62" fmla="*/ 3726 w 4014"/>
                  <a:gd name="T63" fmla="*/ 244 h 996"/>
                  <a:gd name="T64" fmla="*/ 3930 w 4014"/>
                  <a:gd name="T65" fmla="*/ 287 h 996"/>
                  <a:gd name="T66" fmla="*/ 2796 w 4014"/>
                  <a:gd name="T67" fmla="*/ 42 h 996"/>
                  <a:gd name="T68" fmla="*/ 2536 w 4014"/>
                  <a:gd name="T69" fmla="*/ 134 h 996"/>
                  <a:gd name="T70" fmla="*/ 1378 w 4014"/>
                  <a:gd name="T71" fmla="*/ 202 h 996"/>
                  <a:gd name="T72" fmla="*/ 744 w 4014"/>
                  <a:gd name="T73" fmla="*/ 45 h 996"/>
                  <a:gd name="T74" fmla="*/ 84 w 4014"/>
                  <a:gd name="T75" fmla="*/ 166 h 996"/>
                  <a:gd name="T76" fmla="*/ 214 w 4014"/>
                  <a:gd name="T77" fmla="*/ 593 h 996"/>
                  <a:gd name="T78" fmla="*/ 388 w 4014"/>
                  <a:gd name="T79" fmla="*/ 385 h 996"/>
                  <a:gd name="T80" fmla="*/ 706 w 4014"/>
                  <a:gd name="T81" fmla="*/ 423 h 996"/>
                  <a:gd name="T82" fmla="*/ 902 w 4014"/>
                  <a:gd name="T83" fmla="*/ 298 h 996"/>
                  <a:gd name="T84" fmla="*/ 1028 w 4014"/>
                  <a:gd name="T85" fmla="*/ 611 h 996"/>
                  <a:gd name="T86" fmla="*/ 1408 w 4014"/>
                  <a:gd name="T87" fmla="*/ 711 h 996"/>
                  <a:gd name="T88" fmla="*/ 1279 w 4014"/>
                  <a:gd name="T89" fmla="*/ 595 h 996"/>
                  <a:gd name="T90" fmla="*/ 2005 w 4014"/>
                  <a:gd name="T91" fmla="*/ 866 h 996"/>
                  <a:gd name="T92" fmla="*/ 2835 w 4014"/>
                  <a:gd name="T93" fmla="*/ 611 h 996"/>
                  <a:gd name="T94" fmla="*/ 2685 w 4014"/>
                  <a:gd name="T95" fmla="*/ 413 h 996"/>
                  <a:gd name="T96" fmla="*/ 3020 w 4014"/>
                  <a:gd name="T97" fmla="*/ 855 h 996"/>
                  <a:gd name="T98" fmla="*/ 3147 w 4014"/>
                  <a:gd name="T99" fmla="*/ 564 h 996"/>
                  <a:gd name="T100" fmla="*/ 3540 w 4014"/>
                  <a:gd name="T101" fmla="*/ 633 h 996"/>
                  <a:gd name="T102" fmla="*/ 3442 w 4014"/>
                  <a:gd name="T103" fmla="*/ 433 h 996"/>
                  <a:gd name="T104" fmla="*/ 3618 w 4014"/>
                  <a:gd name="T105" fmla="*/ 240 h 996"/>
                  <a:gd name="T106" fmla="*/ 3930 w 4014"/>
                  <a:gd name="T107" fmla="*/ 414 h 9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14" h="996">
                    <a:moveTo>
                      <a:pt x="3930" y="287"/>
                    </a:moveTo>
                    <a:cubicBezTo>
                      <a:pt x="3903" y="287"/>
                      <a:pt x="3880" y="300"/>
                      <a:pt x="3864" y="320"/>
                    </a:cubicBezTo>
                    <a:cubicBezTo>
                      <a:pt x="3735" y="231"/>
                      <a:pt x="3735" y="231"/>
                      <a:pt x="3735" y="231"/>
                    </a:cubicBezTo>
                    <a:cubicBezTo>
                      <a:pt x="3747" y="211"/>
                      <a:pt x="3753" y="188"/>
                      <a:pt x="3753" y="163"/>
                    </a:cubicBezTo>
                    <a:cubicBezTo>
                      <a:pt x="3753" y="88"/>
                      <a:pt x="3693" y="28"/>
                      <a:pt x="3618" y="28"/>
                    </a:cubicBezTo>
                    <a:cubicBezTo>
                      <a:pt x="3544" y="28"/>
                      <a:pt x="3483" y="88"/>
                      <a:pt x="3483" y="163"/>
                    </a:cubicBezTo>
                    <a:cubicBezTo>
                      <a:pt x="3483" y="207"/>
                      <a:pt x="3505" y="247"/>
                      <a:pt x="3538" y="272"/>
                    </a:cubicBezTo>
                    <a:cubicBezTo>
                      <a:pt x="3464" y="372"/>
                      <a:pt x="3464" y="372"/>
                      <a:pt x="3464" y="372"/>
                    </a:cubicBezTo>
                    <a:cubicBezTo>
                      <a:pt x="3458" y="368"/>
                      <a:pt x="3450" y="366"/>
                      <a:pt x="3442" y="366"/>
                    </a:cubicBezTo>
                    <a:cubicBezTo>
                      <a:pt x="3417" y="366"/>
                      <a:pt x="3397" y="386"/>
                      <a:pt x="3397" y="411"/>
                    </a:cubicBezTo>
                    <a:cubicBezTo>
                      <a:pt x="3397" y="412"/>
                      <a:pt x="3397" y="412"/>
                      <a:pt x="3397" y="413"/>
                    </a:cubicBezTo>
                    <a:cubicBezTo>
                      <a:pt x="3304" y="424"/>
                      <a:pt x="3304" y="424"/>
                      <a:pt x="3304" y="424"/>
                    </a:cubicBezTo>
                    <a:cubicBezTo>
                      <a:pt x="3284" y="357"/>
                      <a:pt x="3221" y="307"/>
                      <a:pt x="3147" y="307"/>
                    </a:cubicBezTo>
                    <a:cubicBezTo>
                      <a:pt x="3077" y="307"/>
                      <a:pt x="3017" y="351"/>
                      <a:pt x="2994" y="414"/>
                    </a:cubicBezTo>
                    <a:cubicBezTo>
                      <a:pt x="2836" y="365"/>
                      <a:pt x="2836" y="365"/>
                      <a:pt x="2836" y="365"/>
                    </a:cubicBezTo>
                    <a:cubicBezTo>
                      <a:pt x="2839" y="352"/>
                      <a:pt x="2841" y="338"/>
                      <a:pt x="2841" y="324"/>
                    </a:cubicBezTo>
                    <a:cubicBezTo>
                      <a:pt x="2841" y="263"/>
                      <a:pt x="2807" y="211"/>
                      <a:pt x="2757" y="185"/>
                    </a:cubicBezTo>
                    <a:cubicBezTo>
                      <a:pt x="2787" y="109"/>
                      <a:pt x="2787" y="109"/>
                      <a:pt x="2787" y="109"/>
                    </a:cubicBezTo>
                    <a:cubicBezTo>
                      <a:pt x="2790" y="109"/>
                      <a:pt x="2793" y="110"/>
                      <a:pt x="2796" y="110"/>
                    </a:cubicBezTo>
                    <a:cubicBezTo>
                      <a:pt x="2821" y="110"/>
                      <a:pt x="2841" y="89"/>
                      <a:pt x="2841" y="65"/>
                    </a:cubicBezTo>
                    <a:cubicBezTo>
                      <a:pt x="2841" y="40"/>
                      <a:pt x="2821" y="20"/>
                      <a:pt x="2796" y="20"/>
                    </a:cubicBezTo>
                    <a:cubicBezTo>
                      <a:pt x="2771" y="20"/>
                      <a:pt x="2751" y="40"/>
                      <a:pt x="2751" y="65"/>
                    </a:cubicBezTo>
                    <a:cubicBezTo>
                      <a:pt x="2751" y="81"/>
                      <a:pt x="2760" y="95"/>
                      <a:pt x="2772" y="103"/>
                    </a:cubicBezTo>
                    <a:cubicBezTo>
                      <a:pt x="2742" y="179"/>
                      <a:pt x="2742" y="179"/>
                      <a:pt x="2742" y="179"/>
                    </a:cubicBezTo>
                    <a:cubicBezTo>
                      <a:pt x="2724" y="172"/>
                      <a:pt x="2705" y="168"/>
                      <a:pt x="2685" y="168"/>
                    </a:cubicBezTo>
                    <a:cubicBezTo>
                      <a:pt x="2658" y="168"/>
                      <a:pt x="2632" y="175"/>
                      <a:pt x="2609" y="188"/>
                    </a:cubicBezTo>
                    <a:cubicBezTo>
                      <a:pt x="2575" y="151"/>
                      <a:pt x="2575" y="151"/>
                      <a:pt x="2575" y="151"/>
                    </a:cubicBezTo>
                    <a:cubicBezTo>
                      <a:pt x="2579" y="146"/>
                      <a:pt x="2581" y="140"/>
                      <a:pt x="2581" y="134"/>
                    </a:cubicBezTo>
                    <a:cubicBezTo>
                      <a:pt x="2581" y="118"/>
                      <a:pt x="2568" y="105"/>
                      <a:pt x="2552" y="105"/>
                    </a:cubicBezTo>
                    <a:cubicBezTo>
                      <a:pt x="2536" y="105"/>
                      <a:pt x="2523" y="118"/>
                      <a:pt x="2523" y="134"/>
                    </a:cubicBezTo>
                    <a:cubicBezTo>
                      <a:pt x="2523" y="150"/>
                      <a:pt x="2536" y="163"/>
                      <a:pt x="2552" y="163"/>
                    </a:cubicBezTo>
                    <a:cubicBezTo>
                      <a:pt x="2556" y="163"/>
                      <a:pt x="2559" y="162"/>
                      <a:pt x="2563" y="161"/>
                    </a:cubicBezTo>
                    <a:cubicBezTo>
                      <a:pt x="2595" y="196"/>
                      <a:pt x="2595" y="196"/>
                      <a:pt x="2595" y="196"/>
                    </a:cubicBezTo>
                    <a:cubicBezTo>
                      <a:pt x="2555" y="225"/>
                      <a:pt x="2529" y="271"/>
                      <a:pt x="2529" y="324"/>
                    </a:cubicBezTo>
                    <a:cubicBezTo>
                      <a:pt x="2529" y="354"/>
                      <a:pt x="2538" y="383"/>
                      <a:pt x="2553" y="407"/>
                    </a:cubicBezTo>
                    <a:cubicBezTo>
                      <a:pt x="2334" y="546"/>
                      <a:pt x="2334" y="546"/>
                      <a:pt x="2334" y="546"/>
                    </a:cubicBezTo>
                    <a:cubicBezTo>
                      <a:pt x="2290" y="407"/>
                      <a:pt x="2159" y="306"/>
                      <a:pt x="2005" y="306"/>
                    </a:cubicBezTo>
                    <a:cubicBezTo>
                      <a:pt x="1840" y="306"/>
                      <a:pt x="1702" y="422"/>
                      <a:pt x="1668" y="577"/>
                    </a:cubicBezTo>
                    <a:cubicBezTo>
                      <a:pt x="1429" y="537"/>
                      <a:pt x="1429" y="537"/>
                      <a:pt x="1429" y="537"/>
                    </a:cubicBezTo>
                    <a:cubicBezTo>
                      <a:pt x="1430" y="527"/>
                      <a:pt x="1431" y="518"/>
                      <a:pt x="1431" y="508"/>
                    </a:cubicBezTo>
                    <a:cubicBezTo>
                      <a:pt x="1431" y="442"/>
                      <a:pt x="1390" y="386"/>
                      <a:pt x="1331" y="365"/>
                    </a:cubicBezTo>
                    <a:cubicBezTo>
                      <a:pt x="1374" y="269"/>
                      <a:pt x="1374" y="269"/>
                      <a:pt x="1374" y="269"/>
                    </a:cubicBezTo>
                    <a:cubicBezTo>
                      <a:pt x="1375" y="270"/>
                      <a:pt x="1377" y="270"/>
                      <a:pt x="1378" y="270"/>
                    </a:cubicBezTo>
                    <a:cubicBezTo>
                      <a:pt x="1403" y="270"/>
                      <a:pt x="1423" y="249"/>
                      <a:pt x="1423" y="225"/>
                    </a:cubicBezTo>
                    <a:cubicBezTo>
                      <a:pt x="1423" y="200"/>
                      <a:pt x="1403" y="180"/>
                      <a:pt x="1378" y="180"/>
                    </a:cubicBezTo>
                    <a:cubicBezTo>
                      <a:pt x="1353" y="180"/>
                      <a:pt x="1333" y="200"/>
                      <a:pt x="1333" y="225"/>
                    </a:cubicBezTo>
                    <a:cubicBezTo>
                      <a:pt x="1333" y="242"/>
                      <a:pt x="1343" y="258"/>
                      <a:pt x="1358" y="265"/>
                    </a:cubicBezTo>
                    <a:cubicBezTo>
                      <a:pt x="1316" y="360"/>
                      <a:pt x="1316" y="360"/>
                      <a:pt x="1316" y="360"/>
                    </a:cubicBezTo>
                    <a:cubicBezTo>
                      <a:pt x="1304" y="358"/>
                      <a:pt x="1292" y="356"/>
                      <a:pt x="1279" y="356"/>
                    </a:cubicBezTo>
                    <a:cubicBezTo>
                      <a:pt x="1224" y="356"/>
                      <a:pt x="1176" y="385"/>
                      <a:pt x="1149" y="430"/>
                    </a:cubicBezTo>
                    <a:cubicBezTo>
                      <a:pt x="994" y="297"/>
                      <a:pt x="994" y="297"/>
                      <a:pt x="994" y="297"/>
                    </a:cubicBezTo>
                    <a:cubicBezTo>
                      <a:pt x="1006" y="280"/>
                      <a:pt x="1013" y="258"/>
                      <a:pt x="1013" y="235"/>
                    </a:cubicBezTo>
                    <a:cubicBezTo>
                      <a:pt x="1013" y="174"/>
                      <a:pt x="964" y="124"/>
                      <a:pt x="902" y="124"/>
                    </a:cubicBezTo>
                    <a:cubicBezTo>
                      <a:pt x="879" y="124"/>
                      <a:pt x="858" y="131"/>
                      <a:pt x="840" y="143"/>
                    </a:cubicBezTo>
                    <a:cubicBezTo>
                      <a:pt x="794" y="80"/>
                      <a:pt x="794" y="80"/>
                      <a:pt x="794" y="80"/>
                    </a:cubicBezTo>
                    <a:cubicBezTo>
                      <a:pt x="804" y="72"/>
                      <a:pt x="811" y="59"/>
                      <a:pt x="811" y="45"/>
                    </a:cubicBezTo>
                    <a:cubicBezTo>
                      <a:pt x="811" y="20"/>
                      <a:pt x="791" y="0"/>
                      <a:pt x="766" y="0"/>
                    </a:cubicBezTo>
                    <a:cubicBezTo>
                      <a:pt x="741" y="0"/>
                      <a:pt x="721" y="20"/>
                      <a:pt x="721" y="45"/>
                    </a:cubicBezTo>
                    <a:cubicBezTo>
                      <a:pt x="721" y="69"/>
                      <a:pt x="741" y="90"/>
                      <a:pt x="766" y="90"/>
                    </a:cubicBezTo>
                    <a:cubicBezTo>
                      <a:pt x="771" y="90"/>
                      <a:pt x="775" y="89"/>
                      <a:pt x="780" y="87"/>
                    </a:cubicBezTo>
                    <a:cubicBezTo>
                      <a:pt x="827" y="153"/>
                      <a:pt x="827" y="153"/>
                      <a:pt x="827" y="153"/>
                    </a:cubicBezTo>
                    <a:cubicBezTo>
                      <a:pt x="805" y="173"/>
                      <a:pt x="791" y="203"/>
                      <a:pt x="791" y="235"/>
                    </a:cubicBezTo>
                    <a:cubicBezTo>
                      <a:pt x="791" y="256"/>
                      <a:pt x="797" y="276"/>
                      <a:pt x="808" y="293"/>
                    </a:cubicBezTo>
                    <a:cubicBezTo>
                      <a:pt x="741" y="357"/>
                      <a:pt x="741" y="357"/>
                      <a:pt x="741" y="357"/>
                    </a:cubicBezTo>
                    <a:cubicBezTo>
                      <a:pt x="732" y="349"/>
                      <a:pt x="719" y="344"/>
                      <a:pt x="706" y="344"/>
                    </a:cubicBezTo>
                    <a:cubicBezTo>
                      <a:pt x="686" y="344"/>
                      <a:pt x="669" y="355"/>
                      <a:pt x="660" y="371"/>
                    </a:cubicBezTo>
                    <a:cubicBezTo>
                      <a:pt x="564" y="325"/>
                      <a:pt x="564" y="325"/>
                      <a:pt x="564" y="325"/>
                    </a:cubicBezTo>
                    <a:cubicBezTo>
                      <a:pt x="567" y="312"/>
                      <a:pt x="569" y="298"/>
                      <a:pt x="569" y="285"/>
                    </a:cubicBezTo>
                    <a:cubicBezTo>
                      <a:pt x="569" y="188"/>
                      <a:pt x="488" y="109"/>
                      <a:pt x="388" y="109"/>
                    </a:cubicBezTo>
                    <a:cubicBezTo>
                      <a:pt x="320" y="109"/>
                      <a:pt x="261" y="146"/>
                      <a:pt x="231" y="199"/>
                    </a:cubicBezTo>
                    <a:cubicBezTo>
                      <a:pt x="162" y="155"/>
                      <a:pt x="162" y="155"/>
                      <a:pt x="162" y="155"/>
                    </a:cubicBezTo>
                    <a:cubicBezTo>
                      <a:pt x="166" y="145"/>
                      <a:pt x="168" y="135"/>
                      <a:pt x="168" y="123"/>
                    </a:cubicBezTo>
                    <a:cubicBezTo>
                      <a:pt x="168" y="77"/>
                      <a:pt x="131" y="39"/>
                      <a:pt x="84" y="39"/>
                    </a:cubicBezTo>
                    <a:cubicBezTo>
                      <a:pt x="38" y="39"/>
                      <a:pt x="0" y="77"/>
                      <a:pt x="0" y="123"/>
                    </a:cubicBezTo>
                    <a:cubicBezTo>
                      <a:pt x="0" y="170"/>
                      <a:pt x="38" y="207"/>
                      <a:pt x="84" y="207"/>
                    </a:cubicBezTo>
                    <a:cubicBezTo>
                      <a:pt x="114" y="207"/>
                      <a:pt x="139" y="192"/>
                      <a:pt x="154" y="170"/>
                    </a:cubicBezTo>
                    <a:cubicBezTo>
                      <a:pt x="223" y="214"/>
                      <a:pt x="223" y="214"/>
                      <a:pt x="223" y="214"/>
                    </a:cubicBezTo>
                    <a:cubicBezTo>
                      <a:pt x="213" y="235"/>
                      <a:pt x="208" y="259"/>
                      <a:pt x="208" y="285"/>
                    </a:cubicBezTo>
                    <a:cubicBezTo>
                      <a:pt x="208" y="344"/>
                      <a:pt x="239" y="397"/>
                      <a:pt x="286" y="429"/>
                    </a:cubicBezTo>
                    <a:cubicBezTo>
                      <a:pt x="230" y="516"/>
                      <a:pt x="230" y="516"/>
                      <a:pt x="230" y="516"/>
                    </a:cubicBezTo>
                    <a:cubicBezTo>
                      <a:pt x="225" y="514"/>
                      <a:pt x="220" y="514"/>
                      <a:pt x="214" y="514"/>
                    </a:cubicBezTo>
                    <a:cubicBezTo>
                      <a:pt x="185" y="514"/>
                      <a:pt x="161" y="537"/>
                      <a:pt x="161" y="567"/>
                    </a:cubicBezTo>
                    <a:cubicBezTo>
                      <a:pt x="161" y="596"/>
                      <a:pt x="185" y="620"/>
                      <a:pt x="214" y="620"/>
                    </a:cubicBezTo>
                    <a:cubicBezTo>
                      <a:pt x="243" y="620"/>
                      <a:pt x="267" y="596"/>
                      <a:pt x="267" y="567"/>
                    </a:cubicBezTo>
                    <a:cubicBezTo>
                      <a:pt x="267" y="549"/>
                      <a:pt x="258" y="533"/>
                      <a:pt x="244" y="523"/>
                    </a:cubicBezTo>
                    <a:cubicBezTo>
                      <a:pt x="300" y="437"/>
                      <a:pt x="300" y="437"/>
                      <a:pt x="300" y="437"/>
                    </a:cubicBezTo>
                    <a:cubicBezTo>
                      <a:pt x="326" y="452"/>
                      <a:pt x="356" y="460"/>
                      <a:pt x="388" y="460"/>
                    </a:cubicBezTo>
                    <a:cubicBezTo>
                      <a:pt x="468" y="460"/>
                      <a:pt x="535" y="410"/>
                      <a:pt x="559" y="340"/>
                    </a:cubicBezTo>
                    <a:cubicBezTo>
                      <a:pt x="654" y="386"/>
                      <a:pt x="654" y="386"/>
                      <a:pt x="654" y="386"/>
                    </a:cubicBezTo>
                    <a:cubicBezTo>
                      <a:pt x="653" y="389"/>
                      <a:pt x="653" y="393"/>
                      <a:pt x="653" y="397"/>
                    </a:cubicBezTo>
                    <a:cubicBezTo>
                      <a:pt x="653" y="426"/>
                      <a:pt x="677" y="450"/>
                      <a:pt x="706" y="450"/>
                    </a:cubicBezTo>
                    <a:cubicBezTo>
                      <a:pt x="735" y="450"/>
                      <a:pt x="759" y="426"/>
                      <a:pt x="759" y="397"/>
                    </a:cubicBezTo>
                    <a:cubicBezTo>
                      <a:pt x="759" y="387"/>
                      <a:pt x="756" y="377"/>
                      <a:pt x="751" y="369"/>
                    </a:cubicBezTo>
                    <a:cubicBezTo>
                      <a:pt x="817" y="306"/>
                      <a:pt x="817" y="306"/>
                      <a:pt x="817" y="306"/>
                    </a:cubicBezTo>
                    <a:cubicBezTo>
                      <a:pt x="838" y="331"/>
                      <a:pt x="868" y="346"/>
                      <a:pt x="902" y="346"/>
                    </a:cubicBezTo>
                    <a:cubicBezTo>
                      <a:pt x="935" y="346"/>
                      <a:pt x="964" y="332"/>
                      <a:pt x="984" y="310"/>
                    </a:cubicBezTo>
                    <a:cubicBezTo>
                      <a:pt x="1141" y="444"/>
                      <a:pt x="1141" y="444"/>
                      <a:pt x="1141" y="444"/>
                    </a:cubicBezTo>
                    <a:cubicBezTo>
                      <a:pt x="1132" y="463"/>
                      <a:pt x="1127" y="485"/>
                      <a:pt x="1127" y="508"/>
                    </a:cubicBezTo>
                    <a:cubicBezTo>
                      <a:pt x="1127" y="520"/>
                      <a:pt x="1129" y="532"/>
                      <a:pt x="1132" y="544"/>
                    </a:cubicBezTo>
                    <a:cubicBezTo>
                      <a:pt x="1068" y="567"/>
                      <a:pt x="1068" y="567"/>
                      <a:pt x="1068" y="567"/>
                    </a:cubicBezTo>
                    <a:cubicBezTo>
                      <a:pt x="1060" y="553"/>
                      <a:pt x="1045" y="544"/>
                      <a:pt x="1028" y="544"/>
                    </a:cubicBezTo>
                    <a:cubicBezTo>
                      <a:pt x="1003" y="544"/>
                      <a:pt x="983" y="564"/>
                      <a:pt x="983" y="589"/>
                    </a:cubicBezTo>
                    <a:cubicBezTo>
                      <a:pt x="983" y="613"/>
                      <a:pt x="1003" y="634"/>
                      <a:pt x="1028" y="634"/>
                    </a:cubicBezTo>
                    <a:cubicBezTo>
                      <a:pt x="1053" y="634"/>
                      <a:pt x="1073" y="613"/>
                      <a:pt x="1073" y="589"/>
                    </a:cubicBezTo>
                    <a:cubicBezTo>
                      <a:pt x="1073" y="587"/>
                      <a:pt x="1073" y="585"/>
                      <a:pt x="1073" y="583"/>
                    </a:cubicBezTo>
                    <a:cubicBezTo>
                      <a:pt x="1136" y="559"/>
                      <a:pt x="1136" y="559"/>
                      <a:pt x="1136" y="559"/>
                    </a:cubicBezTo>
                    <a:cubicBezTo>
                      <a:pt x="1157" y="618"/>
                      <a:pt x="1213" y="660"/>
                      <a:pt x="1279" y="660"/>
                    </a:cubicBezTo>
                    <a:cubicBezTo>
                      <a:pt x="1300" y="660"/>
                      <a:pt x="1320" y="656"/>
                      <a:pt x="1339" y="648"/>
                    </a:cubicBezTo>
                    <a:cubicBezTo>
                      <a:pt x="1356" y="677"/>
                      <a:pt x="1356" y="677"/>
                      <a:pt x="1356" y="677"/>
                    </a:cubicBezTo>
                    <a:cubicBezTo>
                      <a:pt x="1347" y="685"/>
                      <a:pt x="1341" y="697"/>
                      <a:pt x="1341" y="711"/>
                    </a:cubicBezTo>
                    <a:cubicBezTo>
                      <a:pt x="1341" y="735"/>
                      <a:pt x="1361" y="756"/>
                      <a:pt x="1386" y="756"/>
                    </a:cubicBezTo>
                    <a:cubicBezTo>
                      <a:pt x="1411" y="756"/>
                      <a:pt x="1431" y="735"/>
                      <a:pt x="1431" y="711"/>
                    </a:cubicBezTo>
                    <a:cubicBezTo>
                      <a:pt x="1431" y="686"/>
                      <a:pt x="1411" y="666"/>
                      <a:pt x="1386" y="666"/>
                    </a:cubicBezTo>
                    <a:cubicBezTo>
                      <a:pt x="1380" y="666"/>
                      <a:pt x="1375" y="667"/>
                      <a:pt x="1370" y="669"/>
                    </a:cubicBezTo>
                    <a:cubicBezTo>
                      <a:pt x="1353" y="641"/>
                      <a:pt x="1353" y="641"/>
                      <a:pt x="1353" y="641"/>
                    </a:cubicBezTo>
                    <a:cubicBezTo>
                      <a:pt x="1387" y="622"/>
                      <a:pt x="1413" y="590"/>
                      <a:pt x="1425" y="552"/>
                    </a:cubicBezTo>
                    <a:cubicBezTo>
                      <a:pt x="1665" y="592"/>
                      <a:pt x="1665" y="592"/>
                      <a:pt x="1665" y="592"/>
                    </a:cubicBezTo>
                    <a:cubicBezTo>
                      <a:pt x="1662" y="611"/>
                      <a:pt x="1660" y="631"/>
                      <a:pt x="1660" y="651"/>
                    </a:cubicBezTo>
                    <a:cubicBezTo>
                      <a:pt x="1660" y="841"/>
                      <a:pt x="1814" y="996"/>
                      <a:pt x="2005" y="996"/>
                    </a:cubicBezTo>
                    <a:cubicBezTo>
                      <a:pt x="2196" y="996"/>
                      <a:pt x="2350" y="841"/>
                      <a:pt x="2350" y="651"/>
                    </a:cubicBezTo>
                    <a:cubicBezTo>
                      <a:pt x="2350" y="620"/>
                      <a:pt x="2346" y="591"/>
                      <a:pt x="2338" y="562"/>
                    </a:cubicBezTo>
                    <a:cubicBezTo>
                      <a:pt x="2562" y="420"/>
                      <a:pt x="2562" y="420"/>
                      <a:pt x="2562" y="420"/>
                    </a:cubicBezTo>
                    <a:cubicBezTo>
                      <a:pt x="2591" y="456"/>
                      <a:pt x="2635" y="480"/>
                      <a:pt x="2685" y="480"/>
                    </a:cubicBezTo>
                    <a:cubicBezTo>
                      <a:pt x="2700" y="480"/>
                      <a:pt x="2715" y="478"/>
                      <a:pt x="2728" y="474"/>
                    </a:cubicBezTo>
                    <a:cubicBezTo>
                      <a:pt x="2757" y="535"/>
                      <a:pt x="2757" y="535"/>
                      <a:pt x="2757" y="535"/>
                    </a:cubicBezTo>
                    <a:cubicBezTo>
                      <a:pt x="2728" y="548"/>
                      <a:pt x="2708" y="577"/>
                      <a:pt x="2708" y="611"/>
                    </a:cubicBezTo>
                    <a:cubicBezTo>
                      <a:pt x="2708" y="658"/>
                      <a:pt x="2746" y="695"/>
                      <a:pt x="2792" y="695"/>
                    </a:cubicBezTo>
                    <a:cubicBezTo>
                      <a:pt x="2839" y="695"/>
                      <a:pt x="2876" y="658"/>
                      <a:pt x="2876" y="611"/>
                    </a:cubicBezTo>
                    <a:cubicBezTo>
                      <a:pt x="2876" y="565"/>
                      <a:pt x="2839" y="527"/>
                      <a:pt x="2792" y="527"/>
                    </a:cubicBezTo>
                    <a:cubicBezTo>
                      <a:pt x="2786" y="527"/>
                      <a:pt x="2779" y="528"/>
                      <a:pt x="2773" y="530"/>
                    </a:cubicBezTo>
                    <a:cubicBezTo>
                      <a:pt x="2743" y="469"/>
                      <a:pt x="2743" y="469"/>
                      <a:pt x="2743" y="469"/>
                    </a:cubicBezTo>
                    <a:cubicBezTo>
                      <a:pt x="2783" y="453"/>
                      <a:pt x="2815" y="420"/>
                      <a:pt x="2831" y="380"/>
                    </a:cubicBezTo>
                    <a:cubicBezTo>
                      <a:pt x="2989" y="429"/>
                      <a:pt x="2989" y="429"/>
                      <a:pt x="2989" y="429"/>
                    </a:cubicBezTo>
                    <a:cubicBezTo>
                      <a:pt x="2986" y="442"/>
                      <a:pt x="2984" y="456"/>
                      <a:pt x="2984" y="471"/>
                    </a:cubicBezTo>
                    <a:cubicBezTo>
                      <a:pt x="2984" y="539"/>
                      <a:pt x="3026" y="597"/>
                      <a:pt x="3085" y="622"/>
                    </a:cubicBezTo>
                    <a:cubicBezTo>
                      <a:pt x="3029" y="789"/>
                      <a:pt x="3029" y="789"/>
                      <a:pt x="3029" y="789"/>
                    </a:cubicBezTo>
                    <a:cubicBezTo>
                      <a:pt x="3026" y="788"/>
                      <a:pt x="3023" y="788"/>
                      <a:pt x="3020" y="788"/>
                    </a:cubicBezTo>
                    <a:cubicBezTo>
                      <a:pt x="2995" y="788"/>
                      <a:pt x="2975" y="808"/>
                      <a:pt x="2975" y="833"/>
                    </a:cubicBezTo>
                    <a:cubicBezTo>
                      <a:pt x="2975" y="857"/>
                      <a:pt x="2995" y="878"/>
                      <a:pt x="3020" y="878"/>
                    </a:cubicBezTo>
                    <a:cubicBezTo>
                      <a:pt x="3045" y="878"/>
                      <a:pt x="3065" y="857"/>
                      <a:pt x="3065" y="833"/>
                    </a:cubicBezTo>
                    <a:cubicBezTo>
                      <a:pt x="3065" y="817"/>
                      <a:pt x="3057" y="803"/>
                      <a:pt x="3044" y="795"/>
                    </a:cubicBezTo>
                    <a:cubicBezTo>
                      <a:pt x="3100" y="627"/>
                      <a:pt x="3100" y="627"/>
                      <a:pt x="3100" y="627"/>
                    </a:cubicBezTo>
                    <a:cubicBezTo>
                      <a:pt x="3115" y="631"/>
                      <a:pt x="3131" y="634"/>
                      <a:pt x="3147" y="634"/>
                    </a:cubicBezTo>
                    <a:cubicBezTo>
                      <a:pt x="3198" y="634"/>
                      <a:pt x="3243" y="611"/>
                      <a:pt x="3273" y="575"/>
                    </a:cubicBezTo>
                    <a:cubicBezTo>
                      <a:pt x="3459" y="656"/>
                      <a:pt x="3459" y="656"/>
                      <a:pt x="3459" y="656"/>
                    </a:cubicBezTo>
                    <a:cubicBezTo>
                      <a:pt x="3457" y="662"/>
                      <a:pt x="3456" y="669"/>
                      <a:pt x="3456" y="675"/>
                    </a:cubicBezTo>
                    <a:cubicBezTo>
                      <a:pt x="3456" y="722"/>
                      <a:pt x="3494" y="759"/>
                      <a:pt x="3540" y="759"/>
                    </a:cubicBezTo>
                    <a:cubicBezTo>
                      <a:pt x="3587" y="759"/>
                      <a:pt x="3624" y="722"/>
                      <a:pt x="3624" y="675"/>
                    </a:cubicBezTo>
                    <a:cubicBezTo>
                      <a:pt x="3624" y="629"/>
                      <a:pt x="3587" y="591"/>
                      <a:pt x="3540" y="591"/>
                    </a:cubicBezTo>
                    <a:cubicBezTo>
                      <a:pt x="3506" y="591"/>
                      <a:pt x="3477" y="612"/>
                      <a:pt x="3464" y="641"/>
                    </a:cubicBezTo>
                    <a:cubicBezTo>
                      <a:pt x="3283" y="562"/>
                      <a:pt x="3283" y="562"/>
                      <a:pt x="3283" y="562"/>
                    </a:cubicBezTo>
                    <a:cubicBezTo>
                      <a:pt x="3300" y="536"/>
                      <a:pt x="3311" y="504"/>
                      <a:pt x="3311" y="471"/>
                    </a:cubicBezTo>
                    <a:cubicBezTo>
                      <a:pt x="3311" y="460"/>
                      <a:pt x="3310" y="450"/>
                      <a:pt x="3308" y="440"/>
                    </a:cubicBezTo>
                    <a:cubicBezTo>
                      <a:pt x="3401" y="429"/>
                      <a:pt x="3401" y="429"/>
                      <a:pt x="3401" y="429"/>
                    </a:cubicBezTo>
                    <a:cubicBezTo>
                      <a:pt x="3408" y="445"/>
                      <a:pt x="3424" y="456"/>
                      <a:pt x="3442" y="456"/>
                    </a:cubicBezTo>
                    <a:cubicBezTo>
                      <a:pt x="3467" y="456"/>
                      <a:pt x="3487" y="435"/>
                      <a:pt x="3487" y="411"/>
                    </a:cubicBezTo>
                    <a:cubicBezTo>
                      <a:pt x="3487" y="400"/>
                      <a:pt x="3483" y="390"/>
                      <a:pt x="3477" y="382"/>
                    </a:cubicBezTo>
                    <a:cubicBezTo>
                      <a:pt x="3551" y="280"/>
                      <a:pt x="3551" y="280"/>
                      <a:pt x="3551" y="280"/>
                    </a:cubicBezTo>
                    <a:cubicBezTo>
                      <a:pt x="3571" y="291"/>
                      <a:pt x="3594" y="298"/>
                      <a:pt x="3618" y="298"/>
                    </a:cubicBezTo>
                    <a:cubicBezTo>
                      <a:pt x="3662" y="298"/>
                      <a:pt x="3702" y="277"/>
                      <a:pt x="3726" y="244"/>
                    </a:cubicBezTo>
                    <a:cubicBezTo>
                      <a:pt x="3856" y="333"/>
                      <a:pt x="3856" y="333"/>
                      <a:pt x="3856" y="333"/>
                    </a:cubicBezTo>
                    <a:cubicBezTo>
                      <a:pt x="3850" y="344"/>
                      <a:pt x="3846" y="357"/>
                      <a:pt x="3846" y="371"/>
                    </a:cubicBezTo>
                    <a:cubicBezTo>
                      <a:pt x="3846" y="418"/>
                      <a:pt x="3884" y="455"/>
                      <a:pt x="3930" y="455"/>
                    </a:cubicBezTo>
                    <a:cubicBezTo>
                      <a:pt x="3977" y="455"/>
                      <a:pt x="4014" y="418"/>
                      <a:pt x="4014" y="371"/>
                    </a:cubicBezTo>
                    <a:cubicBezTo>
                      <a:pt x="4014" y="325"/>
                      <a:pt x="3977" y="287"/>
                      <a:pt x="3930" y="287"/>
                    </a:cubicBezTo>
                    <a:close/>
                    <a:moveTo>
                      <a:pt x="2796" y="42"/>
                    </a:moveTo>
                    <a:cubicBezTo>
                      <a:pt x="2808" y="42"/>
                      <a:pt x="2818" y="52"/>
                      <a:pt x="2818" y="65"/>
                    </a:cubicBezTo>
                    <a:cubicBezTo>
                      <a:pt x="2818" y="77"/>
                      <a:pt x="2808" y="87"/>
                      <a:pt x="2796" y="87"/>
                    </a:cubicBezTo>
                    <a:cubicBezTo>
                      <a:pt x="2784" y="87"/>
                      <a:pt x="2774" y="77"/>
                      <a:pt x="2774" y="65"/>
                    </a:cubicBezTo>
                    <a:cubicBezTo>
                      <a:pt x="2774" y="52"/>
                      <a:pt x="2784" y="42"/>
                      <a:pt x="2796" y="42"/>
                    </a:cubicBezTo>
                    <a:close/>
                    <a:moveTo>
                      <a:pt x="2536" y="134"/>
                    </a:moveTo>
                    <a:cubicBezTo>
                      <a:pt x="2536" y="125"/>
                      <a:pt x="2543" y="118"/>
                      <a:pt x="2552" y="118"/>
                    </a:cubicBezTo>
                    <a:cubicBezTo>
                      <a:pt x="2561" y="118"/>
                      <a:pt x="2569" y="125"/>
                      <a:pt x="2569" y="134"/>
                    </a:cubicBezTo>
                    <a:cubicBezTo>
                      <a:pt x="2569" y="143"/>
                      <a:pt x="2561" y="150"/>
                      <a:pt x="2552" y="150"/>
                    </a:cubicBezTo>
                    <a:cubicBezTo>
                      <a:pt x="2543" y="150"/>
                      <a:pt x="2536" y="143"/>
                      <a:pt x="2536" y="134"/>
                    </a:cubicBezTo>
                    <a:close/>
                    <a:moveTo>
                      <a:pt x="1378" y="202"/>
                    </a:moveTo>
                    <a:cubicBezTo>
                      <a:pt x="1390" y="202"/>
                      <a:pt x="1400" y="212"/>
                      <a:pt x="1400" y="225"/>
                    </a:cubicBezTo>
                    <a:cubicBezTo>
                      <a:pt x="1400" y="237"/>
                      <a:pt x="1390" y="247"/>
                      <a:pt x="1378" y="247"/>
                    </a:cubicBezTo>
                    <a:cubicBezTo>
                      <a:pt x="1366" y="247"/>
                      <a:pt x="1356" y="237"/>
                      <a:pt x="1356" y="225"/>
                    </a:cubicBezTo>
                    <a:cubicBezTo>
                      <a:pt x="1356" y="212"/>
                      <a:pt x="1366" y="202"/>
                      <a:pt x="1378" y="202"/>
                    </a:cubicBezTo>
                    <a:close/>
                    <a:moveTo>
                      <a:pt x="744" y="45"/>
                    </a:moveTo>
                    <a:cubicBezTo>
                      <a:pt x="744" y="32"/>
                      <a:pt x="754" y="22"/>
                      <a:pt x="766" y="22"/>
                    </a:cubicBezTo>
                    <a:cubicBezTo>
                      <a:pt x="778" y="22"/>
                      <a:pt x="788" y="32"/>
                      <a:pt x="788" y="45"/>
                    </a:cubicBezTo>
                    <a:cubicBezTo>
                      <a:pt x="788" y="57"/>
                      <a:pt x="778" y="67"/>
                      <a:pt x="766" y="67"/>
                    </a:cubicBezTo>
                    <a:cubicBezTo>
                      <a:pt x="754" y="67"/>
                      <a:pt x="744" y="57"/>
                      <a:pt x="744" y="45"/>
                    </a:cubicBezTo>
                    <a:close/>
                    <a:moveTo>
                      <a:pt x="84" y="166"/>
                    </a:moveTo>
                    <a:cubicBezTo>
                      <a:pt x="61" y="166"/>
                      <a:pt x="42" y="147"/>
                      <a:pt x="42" y="123"/>
                    </a:cubicBezTo>
                    <a:cubicBezTo>
                      <a:pt x="42" y="100"/>
                      <a:pt x="61" y="81"/>
                      <a:pt x="84" y="81"/>
                    </a:cubicBezTo>
                    <a:cubicBezTo>
                      <a:pt x="108" y="81"/>
                      <a:pt x="127" y="100"/>
                      <a:pt x="127" y="123"/>
                    </a:cubicBezTo>
                    <a:cubicBezTo>
                      <a:pt x="127" y="147"/>
                      <a:pt x="108" y="166"/>
                      <a:pt x="84" y="166"/>
                    </a:cubicBezTo>
                    <a:close/>
                    <a:moveTo>
                      <a:pt x="214" y="593"/>
                    </a:moveTo>
                    <a:cubicBezTo>
                      <a:pt x="199" y="593"/>
                      <a:pt x="188" y="581"/>
                      <a:pt x="188" y="567"/>
                    </a:cubicBezTo>
                    <a:cubicBezTo>
                      <a:pt x="188" y="552"/>
                      <a:pt x="199" y="540"/>
                      <a:pt x="214" y="540"/>
                    </a:cubicBezTo>
                    <a:cubicBezTo>
                      <a:pt x="229" y="540"/>
                      <a:pt x="240" y="552"/>
                      <a:pt x="240" y="567"/>
                    </a:cubicBezTo>
                    <a:cubicBezTo>
                      <a:pt x="240" y="581"/>
                      <a:pt x="229" y="593"/>
                      <a:pt x="214" y="593"/>
                    </a:cubicBezTo>
                    <a:close/>
                    <a:moveTo>
                      <a:pt x="388" y="385"/>
                    </a:moveTo>
                    <a:cubicBezTo>
                      <a:pt x="330" y="385"/>
                      <a:pt x="282" y="339"/>
                      <a:pt x="282" y="282"/>
                    </a:cubicBezTo>
                    <a:cubicBezTo>
                      <a:pt x="282" y="225"/>
                      <a:pt x="330" y="179"/>
                      <a:pt x="388" y="179"/>
                    </a:cubicBezTo>
                    <a:cubicBezTo>
                      <a:pt x="447" y="179"/>
                      <a:pt x="494" y="225"/>
                      <a:pt x="494" y="282"/>
                    </a:cubicBezTo>
                    <a:cubicBezTo>
                      <a:pt x="494" y="339"/>
                      <a:pt x="447" y="385"/>
                      <a:pt x="388" y="385"/>
                    </a:cubicBezTo>
                    <a:close/>
                    <a:moveTo>
                      <a:pt x="706" y="423"/>
                    </a:moveTo>
                    <a:cubicBezTo>
                      <a:pt x="691" y="423"/>
                      <a:pt x="680" y="411"/>
                      <a:pt x="680" y="397"/>
                    </a:cubicBezTo>
                    <a:cubicBezTo>
                      <a:pt x="680" y="382"/>
                      <a:pt x="691" y="370"/>
                      <a:pt x="706" y="370"/>
                    </a:cubicBezTo>
                    <a:cubicBezTo>
                      <a:pt x="721" y="370"/>
                      <a:pt x="732" y="382"/>
                      <a:pt x="732" y="397"/>
                    </a:cubicBezTo>
                    <a:cubicBezTo>
                      <a:pt x="732" y="411"/>
                      <a:pt x="721" y="423"/>
                      <a:pt x="706" y="423"/>
                    </a:cubicBezTo>
                    <a:close/>
                    <a:moveTo>
                      <a:pt x="902" y="298"/>
                    </a:moveTo>
                    <a:cubicBezTo>
                      <a:pt x="866" y="298"/>
                      <a:pt x="837" y="269"/>
                      <a:pt x="837" y="233"/>
                    </a:cubicBezTo>
                    <a:cubicBezTo>
                      <a:pt x="837" y="197"/>
                      <a:pt x="866" y="168"/>
                      <a:pt x="902" y="168"/>
                    </a:cubicBezTo>
                    <a:cubicBezTo>
                      <a:pt x="938" y="168"/>
                      <a:pt x="967" y="197"/>
                      <a:pt x="967" y="233"/>
                    </a:cubicBezTo>
                    <a:cubicBezTo>
                      <a:pt x="967" y="269"/>
                      <a:pt x="938" y="298"/>
                      <a:pt x="902" y="298"/>
                    </a:cubicBezTo>
                    <a:close/>
                    <a:moveTo>
                      <a:pt x="1028" y="611"/>
                    </a:moveTo>
                    <a:cubicBezTo>
                      <a:pt x="1016" y="611"/>
                      <a:pt x="1006" y="601"/>
                      <a:pt x="1006" y="589"/>
                    </a:cubicBezTo>
                    <a:cubicBezTo>
                      <a:pt x="1006" y="576"/>
                      <a:pt x="1016" y="566"/>
                      <a:pt x="1028" y="566"/>
                    </a:cubicBezTo>
                    <a:cubicBezTo>
                      <a:pt x="1040" y="566"/>
                      <a:pt x="1050" y="576"/>
                      <a:pt x="1050" y="589"/>
                    </a:cubicBezTo>
                    <a:cubicBezTo>
                      <a:pt x="1050" y="601"/>
                      <a:pt x="1040" y="611"/>
                      <a:pt x="1028" y="611"/>
                    </a:cubicBezTo>
                    <a:close/>
                    <a:moveTo>
                      <a:pt x="1408" y="711"/>
                    </a:moveTo>
                    <a:cubicBezTo>
                      <a:pt x="1408" y="723"/>
                      <a:pt x="1398" y="733"/>
                      <a:pt x="1386" y="733"/>
                    </a:cubicBezTo>
                    <a:cubicBezTo>
                      <a:pt x="1374" y="733"/>
                      <a:pt x="1364" y="723"/>
                      <a:pt x="1364" y="711"/>
                    </a:cubicBezTo>
                    <a:cubicBezTo>
                      <a:pt x="1364" y="698"/>
                      <a:pt x="1374" y="688"/>
                      <a:pt x="1386" y="688"/>
                    </a:cubicBezTo>
                    <a:cubicBezTo>
                      <a:pt x="1398" y="688"/>
                      <a:pt x="1408" y="698"/>
                      <a:pt x="1408" y="711"/>
                    </a:cubicBezTo>
                    <a:close/>
                    <a:moveTo>
                      <a:pt x="1279" y="595"/>
                    </a:moveTo>
                    <a:cubicBezTo>
                      <a:pt x="1230" y="595"/>
                      <a:pt x="1190" y="555"/>
                      <a:pt x="1190" y="506"/>
                    </a:cubicBezTo>
                    <a:cubicBezTo>
                      <a:pt x="1190" y="456"/>
                      <a:pt x="1230" y="416"/>
                      <a:pt x="1279" y="416"/>
                    </a:cubicBezTo>
                    <a:cubicBezTo>
                      <a:pt x="1328" y="416"/>
                      <a:pt x="1368" y="456"/>
                      <a:pt x="1368" y="506"/>
                    </a:cubicBezTo>
                    <a:cubicBezTo>
                      <a:pt x="1368" y="555"/>
                      <a:pt x="1328" y="595"/>
                      <a:pt x="1279" y="595"/>
                    </a:cubicBezTo>
                    <a:close/>
                    <a:moveTo>
                      <a:pt x="2005" y="866"/>
                    </a:moveTo>
                    <a:cubicBezTo>
                      <a:pt x="1885" y="866"/>
                      <a:pt x="1788" y="769"/>
                      <a:pt x="1788" y="649"/>
                    </a:cubicBezTo>
                    <a:cubicBezTo>
                      <a:pt x="1788" y="529"/>
                      <a:pt x="1885" y="432"/>
                      <a:pt x="2005" y="432"/>
                    </a:cubicBezTo>
                    <a:cubicBezTo>
                      <a:pt x="2125" y="432"/>
                      <a:pt x="2222" y="529"/>
                      <a:pt x="2222" y="649"/>
                    </a:cubicBezTo>
                    <a:cubicBezTo>
                      <a:pt x="2222" y="769"/>
                      <a:pt x="2125" y="866"/>
                      <a:pt x="2005" y="866"/>
                    </a:cubicBezTo>
                    <a:close/>
                    <a:moveTo>
                      <a:pt x="2835" y="611"/>
                    </a:moveTo>
                    <a:cubicBezTo>
                      <a:pt x="2835" y="635"/>
                      <a:pt x="2816" y="654"/>
                      <a:pt x="2792" y="654"/>
                    </a:cubicBezTo>
                    <a:cubicBezTo>
                      <a:pt x="2769" y="654"/>
                      <a:pt x="2750" y="635"/>
                      <a:pt x="2750" y="611"/>
                    </a:cubicBezTo>
                    <a:cubicBezTo>
                      <a:pt x="2750" y="588"/>
                      <a:pt x="2769" y="569"/>
                      <a:pt x="2792" y="569"/>
                    </a:cubicBezTo>
                    <a:cubicBezTo>
                      <a:pt x="2816" y="569"/>
                      <a:pt x="2835" y="588"/>
                      <a:pt x="2835" y="611"/>
                    </a:cubicBezTo>
                    <a:close/>
                    <a:moveTo>
                      <a:pt x="2685" y="413"/>
                    </a:moveTo>
                    <a:cubicBezTo>
                      <a:pt x="2635" y="413"/>
                      <a:pt x="2594" y="372"/>
                      <a:pt x="2594" y="321"/>
                    </a:cubicBezTo>
                    <a:cubicBezTo>
                      <a:pt x="2594" y="271"/>
                      <a:pt x="2635" y="230"/>
                      <a:pt x="2685" y="230"/>
                    </a:cubicBezTo>
                    <a:cubicBezTo>
                      <a:pt x="2736" y="230"/>
                      <a:pt x="2777" y="271"/>
                      <a:pt x="2777" y="321"/>
                    </a:cubicBezTo>
                    <a:cubicBezTo>
                      <a:pt x="2777" y="372"/>
                      <a:pt x="2736" y="413"/>
                      <a:pt x="2685" y="413"/>
                    </a:cubicBezTo>
                    <a:close/>
                    <a:moveTo>
                      <a:pt x="3020" y="855"/>
                    </a:moveTo>
                    <a:cubicBezTo>
                      <a:pt x="3008" y="855"/>
                      <a:pt x="2998" y="845"/>
                      <a:pt x="2998" y="833"/>
                    </a:cubicBezTo>
                    <a:cubicBezTo>
                      <a:pt x="2998" y="820"/>
                      <a:pt x="3008" y="810"/>
                      <a:pt x="3020" y="810"/>
                    </a:cubicBezTo>
                    <a:cubicBezTo>
                      <a:pt x="3032" y="810"/>
                      <a:pt x="3042" y="820"/>
                      <a:pt x="3042" y="833"/>
                    </a:cubicBezTo>
                    <a:cubicBezTo>
                      <a:pt x="3042" y="845"/>
                      <a:pt x="3032" y="855"/>
                      <a:pt x="3020" y="855"/>
                    </a:cubicBezTo>
                    <a:close/>
                    <a:moveTo>
                      <a:pt x="3147" y="564"/>
                    </a:moveTo>
                    <a:cubicBezTo>
                      <a:pt x="3094" y="564"/>
                      <a:pt x="3051" y="521"/>
                      <a:pt x="3051" y="468"/>
                    </a:cubicBezTo>
                    <a:cubicBezTo>
                      <a:pt x="3051" y="415"/>
                      <a:pt x="3094" y="372"/>
                      <a:pt x="3147" y="372"/>
                    </a:cubicBezTo>
                    <a:cubicBezTo>
                      <a:pt x="3200" y="372"/>
                      <a:pt x="3243" y="415"/>
                      <a:pt x="3243" y="468"/>
                    </a:cubicBezTo>
                    <a:cubicBezTo>
                      <a:pt x="3243" y="521"/>
                      <a:pt x="3200" y="564"/>
                      <a:pt x="3147" y="564"/>
                    </a:cubicBezTo>
                    <a:close/>
                    <a:moveTo>
                      <a:pt x="3540" y="633"/>
                    </a:moveTo>
                    <a:cubicBezTo>
                      <a:pt x="3564" y="633"/>
                      <a:pt x="3583" y="652"/>
                      <a:pt x="3583" y="675"/>
                    </a:cubicBezTo>
                    <a:cubicBezTo>
                      <a:pt x="3583" y="699"/>
                      <a:pt x="3564" y="718"/>
                      <a:pt x="3540" y="718"/>
                    </a:cubicBezTo>
                    <a:cubicBezTo>
                      <a:pt x="3517" y="718"/>
                      <a:pt x="3498" y="699"/>
                      <a:pt x="3498" y="675"/>
                    </a:cubicBezTo>
                    <a:cubicBezTo>
                      <a:pt x="3498" y="652"/>
                      <a:pt x="3517" y="633"/>
                      <a:pt x="3540" y="633"/>
                    </a:cubicBezTo>
                    <a:close/>
                    <a:moveTo>
                      <a:pt x="3442" y="433"/>
                    </a:moveTo>
                    <a:cubicBezTo>
                      <a:pt x="3430" y="433"/>
                      <a:pt x="3420" y="423"/>
                      <a:pt x="3420" y="411"/>
                    </a:cubicBezTo>
                    <a:cubicBezTo>
                      <a:pt x="3420" y="398"/>
                      <a:pt x="3430" y="388"/>
                      <a:pt x="3442" y="388"/>
                    </a:cubicBezTo>
                    <a:cubicBezTo>
                      <a:pt x="3454" y="388"/>
                      <a:pt x="3464" y="398"/>
                      <a:pt x="3464" y="411"/>
                    </a:cubicBezTo>
                    <a:cubicBezTo>
                      <a:pt x="3464" y="423"/>
                      <a:pt x="3454" y="433"/>
                      <a:pt x="3442" y="433"/>
                    </a:cubicBezTo>
                    <a:close/>
                    <a:moveTo>
                      <a:pt x="3618" y="240"/>
                    </a:moveTo>
                    <a:cubicBezTo>
                      <a:pt x="3575" y="240"/>
                      <a:pt x="3539" y="205"/>
                      <a:pt x="3539" y="161"/>
                    </a:cubicBezTo>
                    <a:cubicBezTo>
                      <a:pt x="3539" y="117"/>
                      <a:pt x="3575" y="82"/>
                      <a:pt x="3618" y="82"/>
                    </a:cubicBezTo>
                    <a:cubicBezTo>
                      <a:pt x="3662" y="82"/>
                      <a:pt x="3697" y="117"/>
                      <a:pt x="3697" y="161"/>
                    </a:cubicBezTo>
                    <a:cubicBezTo>
                      <a:pt x="3697" y="205"/>
                      <a:pt x="3662" y="240"/>
                      <a:pt x="3618" y="240"/>
                    </a:cubicBezTo>
                    <a:close/>
                    <a:moveTo>
                      <a:pt x="3930" y="414"/>
                    </a:moveTo>
                    <a:cubicBezTo>
                      <a:pt x="3907" y="414"/>
                      <a:pt x="3888" y="395"/>
                      <a:pt x="3888" y="371"/>
                    </a:cubicBezTo>
                    <a:cubicBezTo>
                      <a:pt x="3888" y="348"/>
                      <a:pt x="3907" y="329"/>
                      <a:pt x="3930" y="329"/>
                    </a:cubicBezTo>
                    <a:cubicBezTo>
                      <a:pt x="3954" y="329"/>
                      <a:pt x="3973" y="348"/>
                      <a:pt x="3973" y="371"/>
                    </a:cubicBezTo>
                    <a:cubicBezTo>
                      <a:pt x="3973" y="395"/>
                      <a:pt x="3954" y="414"/>
                      <a:pt x="3930" y="4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Aptos" panose="020B0004020202020204" pitchFamily="34" charset="0"/>
                </a:endParaRPr>
              </a:p>
            </p:txBody>
          </p:sp>
          <p:sp>
            <p:nvSpPr>
              <p:cNvPr id="13" name="Oval 6"/>
              <p:cNvSpPr>
                <a:spLocks noChangeArrowheads="1"/>
              </p:cNvSpPr>
              <p:nvPr userDrawn="1"/>
            </p:nvSpPr>
            <p:spPr bwMode="auto">
              <a:xfrm>
                <a:off x="5694363" y="4705350"/>
                <a:ext cx="782638" cy="781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Aptos" panose="020B0004020202020204" pitchFamily="34" charset="0"/>
                </a:endParaRPr>
              </a:p>
            </p:txBody>
          </p:sp>
        </p:grpSp>
        <p:sp>
          <p:nvSpPr>
            <p:cNvPr id="17" name="Rechteck 16"/>
            <p:cNvSpPr/>
            <p:nvPr userDrawn="1"/>
          </p:nvSpPr>
          <p:spPr>
            <a:xfrm>
              <a:off x="-12137" y="0"/>
              <a:ext cx="12296726" cy="6858000"/>
            </a:xfrm>
            <a:prstGeom prst="rect">
              <a:avLst/>
            </a:prstGeom>
            <a:gradFill flip="none" rotWithShape="0">
              <a:gsLst>
                <a:gs pos="0">
                  <a:schemeClr val="tx1">
                    <a:alpha val="90000"/>
                  </a:schemeClr>
                </a:gs>
                <a:gs pos="50000">
                  <a:schemeClr val="tx1">
                    <a:lumMod val="85000"/>
                    <a:lumOff val="15000"/>
                    <a:alpha val="40000"/>
                  </a:schemeClr>
                </a:gs>
                <a:gs pos="100000">
                  <a:schemeClr val="tx1">
                    <a:lumMod val="65000"/>
                    <a:lumOff val="35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-12138" y="5805488"/>
              <a:ext cx="12202551" cy="10525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ptos" panose="020B0004020202020204" pitchFamily="34" charset="0"/>
              </a:endParaRPr>
            </a:p>
          </p:txBody>
        </p:sp>
      </p:grpSp>
      <p:sp>
        <p:nvSpPr>
          <p:cNvPr id="10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44376" y="4"/>
            <a:ext cx="10101664" cy="374144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800" b="0" cap="all">
                <a:solidFill>
                  <a:schemeClr val="bg1"/>
                </a:solidFill>
                <a:latin typeface="Aptos ExtraBold" panose="020B0004020202020204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 userDrawn="1">
            <p:ph type="body" idx="1" hasCustomPrompt="1"/>
          </p:nvPr>
        </p:nvSpPr>
        <p:spPr>
          <a:xfrm>
            <a:off x="1044376" y="3741445"/>
            <a:ext cx="10101664" cy="2061759"/>
          </a:xfrm>
        </p:spPr>
        <p:txBody>
          <a:bodyPr vert="horz" lIns="10798" tIns="0" rIns="0" bIns="0" rtlCol="0" anchor="t" anchorCtr="0">
            <a:noAutofit/>
          </a:bodyPr>
          <a:lstStyle>
            <a:lvl1pPr>
              <a:defRPr lang="de-DE" sz="4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80000"/>
              </a:lnSpc>
              <a:buNone/>
            </a:pPr>
            <a:r>
              <a:rPr lang="de-DE" dirty="0"/>
              <a:t>SUBTITL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6DF0B11-E224-42A4-80D6-3098FA3EBB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0376" y="6272469"/>
            <a:ext cx="2073859" cy="3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137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 userDrawn="1"/>
        </p:nvGrpSpPr>
        <p:grpSpPr>
          <a:xfrm>
            <a:off x="-279398" y="0"/>
            <a:ext cx="12749214" cy="6858000"/>
            <a:chOff x="-279400" y="0"/>
            <a:chExt cx="12749213" cy="6858000"/>
          </a:xfrm>
        </p:grpSpPr>
        <p:sp>
          <p:nvSpPr>
            <p:cNvPr id="13" name="Rechteck 12"/>
            <p:cNvSpPr/>
            <p:nvPr userDrawn="1"/>
          </p:nvSpPr>
          <p:spPr>
            <a:xfrm>
              <a:off x="-12138" y="0"/>
              <a:ext cx="12202556" cy="68580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ptos" panose="020B0004020202020204" pitchFamily="34" charset="0"/>
              </a:endParaRPr>
            </a:p>
          </p:txBody>
        </p:sp>
        <p:grpSp>
          <p:nvGrpSpPr>
            <p:cNvPr id="14" name="Gruppieren 13"/>
            <p:cNvGrpSpPr/>
            <p:nvPr userDrawn="1"/>
          </p:nvGrpSpPr>
          <p:grpSpPr>
            <a:xfrm>
              <a:off x="-279400" y="3046413"/>
              <a:ext cx="12749213" cy="3163887"/>
              <a:chOff x="-276225" y="3046413"/>
              <a:chExt cx="12749213" cy="3163887"/>
            </a:xfrm>
            <a:solidFill>
              <a:schemeClr val="bg1"/>
            </a:solidFill>
          </p:grpSpPr>
          <p:sp>
            <p:nvSpPr>
              <p:cNvPr id="17" name="Freeform 7"/>
              <p:cNvSpPr>
                <a:spLocks noEditPoints="1"/>
              </p:cNvSpPr>
              <p:nvPr userDrawn="1"/>
            </p:nvSpPr>
            <p:spPr bwMode="auto">
              <a:xfrm>
                <a:off x="-276225" y="3046413"/>
                <a:ext cx="12749213" cy="3163887"/>
              </a:xfrm>
              <a:custGeom>
                <a:avLst/>
                <a:gdLst>
                  <a:gd name="T0" fmla="*/ 3618 w 4014"/>
                  <a:gd name="T1" fmla="*/ 28 h 996"/>
                  <a:gd name="T2" fmla="*/ 3397 w 4014"/>
                  <a:gd name="T3" fmla="*/ 411 h 996"/>
                  <a:gd name="T4" fmla="*/ 2836 w 4014"/>
                  <a:gd name="T5" fmla="*/ 365 h 996"/>
                  <a:gd name="T6" fmla="*/ 2841 w 4014"/>
                  <a:gd name="T7" fmla="*/ 65 h 996"/>
                  <a:gd name="T8" fmla="*/ 2685 w 4014"/>
                  <a:gd name="T9" fmla="*/ 168 h 996"/>
                  <a:gd name="T10" fmla="*/ 2523 w 4014"/>
                  <a:gd name="T11" fmla="*/ 134 h 996"/>
                  <a:gd name="T12" fmla="*/ 2553 w 4014"/>
                  <a:gd name="T13" fmla="*/ 407 h 996"/>
                  <a:gd name="T14" fmla="*/ 1431 w 4014"/>
                  <a:gd name="T15" fmla="*/ 508 h 996"/>
                  <a:gd name="T16" fmla="*/ 1378 w 4014"/>
                  <a:gd name="T17" fmla="*/ 180 h 996"/>
                  <a:gd name="T18" fmla="*/ 1149 w 4014"/>
                  <a:gd name="T19" fmla="*/ 430 h 996"/>
                  <a:gd name="T20" fmla="*/ 794 w 4014"/>
                  <a:gd name="T21" fmla="*/ 80 h 996"/>
                  <a:gd name="T22" fmla="*/ 780 w 4014"/>
                  <a:gd name="T23" fmla="*/ 87 h 996"/>
                  <a:gd name="T24" fmla="*/ 706 w 4014"/>
                  <a:gd name="T25" fmla="*/ 344 h 996"/>
                  <a:gd name="T26" fmla="*/ 231 w 4014"/>
                  <a:gd name="T27" fmla="*/ 199 h 996"/>
                  <a:gd name="T28" fmla="*/ 84 w 4014"/>
                  <a:gd name="T29" fmla="*/ 207 h 996"/>
                  <a:gd name="T30" fmla="*/ 230 w 4014"/>
                  <a:gd name="T31" fmla="*/ 516 h 996"/>
                  <a:gd name="T32" fmla="*/ 244 w 4014"/>
                  <a:gd name="T33" fmla="*/ 523 h 996"/>
                  <a:gd name="T34" fmla="*/ 653 w 4014"/>
                  <a:gd name="T35" fmla="*/ 397 h 996"/>
                  <a:gd name="T36" fmla="*/ 902 w 4014"/>
                  <a:gd name="T37" fmla="*/ 346 h 996"/>
                  <a:gd name="T38" fmla="*/ 1068 w 4014"/>
                  <a:gd name="T39" fmla="*/ 567 h 996"/>
                  <a:gd name="T40" fmla="*/ 1073 w 4014"/>
                  <a:gd name="T41" fmla="*/ 583 h 996"/>
                  <a:gd name="T42" fmla="*/ 1341 w 4014"/>
                  <a:gd name="T43" fmla="*/ 711 h 996"/>
                  <a:gd name="T44" fmla="*/ 1353 w 4014"/>
                  <a:gd name="T45" fmla="*/ 641 h 996"/>
                  <a:gd name="T46" fmla="*/ 2350 w 4014"/>
                  <a:gd name="T47" fmla="*/ 651 h 996"/>
                  <a:gd name="T48" fmla="*/ 2757 w 4014"/>
                  <a:gd name="T49" fmla="*/ 535 h 996"/>
                  <a:gd name="T50" fmla="*/ 2773 w 4014"/>
                  <a:gd name="T51" fmla="*/ 530 h 996"/>
                  <a:gd name="T52" fmla="*/ 3085 w 4014"/>
                  <a:gd name="T53" fmla="*/ 622 h 996"/>
                  <a:gd name="T54" fmla="*/ 3065 w 4014"/>
                  <a:gd name="T55" fmla="*/ 833 h 996"/>
                  <a:gd name="T56" fmla="*/ 3459 w 4014"/>
                  <a:gd name="T57" fmla="*/ 656 h 996"/>
                  <a:gd name="T58" fmla="*/ 3464 w 4014"/>
                  <a:gd name="T59" fmla="*/ 641 h 996"/>
                  <a:gd name="T60" fmla="*/ 3442 w 4014"/>
                  <a:gd name="T61" fmla="*/ 456 h 996"/>
                  <a:gd name="T62" fmla="*/ 3726 w 4014"/>
                  <a:gd name="T63" fmla="*/ 244 h 996"/>
                  <a:gd name="T64" fmla="*/ 3930 w 4014"/>
                  <a:gd name="T65" fmla="*/ 287 h 996"/>
                  <a:gd name="T66" fmla="*/ 2796 w 4014"/>
                  <a:gd name="T67" fmla="*/ 42 h 996"/>
                  <a:gd name="T68" fmla="*/ 2536 w 4014"/>
                  <a:gd name="T69" fmla="*/ 134 h 996"/>
                  <a:gd name="T70" fmla="*/ 1378 w 4014"/>
                  <a:gd name="T71" fmla="*/ 202 h 996"/>
                  <a:gd name="T72" fmla="*/ 744 w 4014"/>
                  <a:gd name="T73" fmla="*/ 45 h 996"/>
                  <a:gd name="T74" fmla="*/ 84 w 4014"/>
                  <a:gd name="T75" fmla="*/ 166 h 996"/>
                  <a:gd name="T76" fmla="*/ 214 w 4014"/>
                  <a:gd name="T77" fmla="*/ 593 h 996"/>
                  <a:gd name="T78" fmla="*/ 388 w 4014"/>
                  <a:gd name="T79" fmla="*/ 385 h 996"/>
                  <a:gd name="T80" fmla="*/ 706 w 4014"/>
                  <a:gd name="T81" fmla="*/ 423 h 996"/>
                  <a:gd name="T82" fmla="*/ 902 w 4014"/>
                  <a:gd name="T83" fmla="*/ 298 h 996"/>
                  <a:gd name="T84" fmla="*/ 1028 w 4014"/>
                  <a:gd name="T85" fmla="*/ 611 h 996"/>
                  <a:gd name="T86" fmla="*/ 1408 w 4014"/>
                  <a:gd name="T87" fmla="*/ 711 h 996"/>
                  <a:gd name="T88" fmla="*/ 1279 w 4014"/>
                  <a:gd name="T89" fmla="*/ 595 h 996"/>
                  <a:gd name="T90" fmla="*/ 2005 w 4014"/>
                  <a:gd name="T91" fmla="*/ 866 h 996"/>
                  <a:gd name="T92" fmla="*/ 2835 w 4014"/>
                  <a:gd name="T93" fmla="*/ 611 h 996"/>
                  <a:gd name="T94" fmla="*/ 2685 w 4014"/>
                  <a:gd name="T95" fmla="*/ 413 h 996"/>
                  <a:gd name="T96" fmla="*/ 3020 w 4014"/>
                  <a:gd name="T97" fmla="*/ 855 h 996"/>
                  <a:gd name="T98" fmla="*/ 3147 w 4014"/>
                  <a:gd name="T99" fmla="*/ 564 h 996"/>
                  <a:gd name="T100" fmla="*/ 3540 w 4014"/>
                  <a:gd name="T101" fmla="*/ 633 h 996"/>
                  <a:gd name="T102" fmla="*/ 3442 w 4014"/>
                  <a:gd name="T103" fmla="*/ 433 h 996"/>
                  <a:gd name="T104" fmla="*/ 3618 w 4014"/>
                  <a:gd name="T105" fmla="*/ 240 h 996"/>
                  <a:gd name="T106" fmla="*/ 3930 w 4014"/>
                  <a:gd name="T107" fmla="*/ 414 h 9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14" h="996">
                    <a:moveTo>
                      <a:pt x="3930" y="287"/>
                    </a:moveTo>
                    <a:cubicBezTo>
                      <a:pt x="3903" y="287"/>
                      <a:pt x="3880" y="300"/>
                      <a:pt x="3864" y="320"/>
                    </a:cubicBezTo>
                    <a:cubicBezTo>
                      <a:pt x="3735" y="231"/>
                      <a:pt x="3735" y="231"/>
                      <a:pt x="3735" y="231"/>
                    </a:cubicBezTo>
                    <a:cubicBezTo>
                      <a:pt x="3747" y="211"/>
                      <a:pt x="3753" y="188"/>
                      <a:pt x="3753" y="163"/>
                    </a:cubicBezTo>
                    <a:cubicBezTo>
                      <a:pt x="3753" y="88"/>
                      <a:pt x="3693" y="28"/>
                      <a:pt x="3618" y="28"/>
                    </a:cubicBezTo>
                    <a:cubicBezTo>
                      <a:pt x="3544" y="28"/>
                      <a:pt x="3483" y="88"/>
                      <a:pt x="3483" y="163"/>
                    </a:cubicBezTo>
                    <a:cubicBezTo>
                      <a:pt x="3483" y="207"/>
                      <a:pt x="3505" y="247"/>
                      <a:pt x="3538" y="272"/>
                    </a:cubicBezTo>
                    <a:cubicBezTo>
                      <a:pt x="3464" y="372"/>
                      <a:pt x="3464" y="372"/>
                      <a:pt x="3464" y="372"/>
                    </a:cubicBezTo>
                    <a:cubicBezTo>
                      <a:pt x="3458" y="368"/>
                      <a:pt x="3450" y="366"/>
                      <a:pt x="3442" y="366"/>
                    </a:cubicBezTo>
                    <a:cubicBezTo>
                      <a:pt x="3417" y="366"/>
                      <a:pt x="3397" y="386"/>
                      <a:pt x="3397" y="411"/>
                    </a:cubicBezTo>
                    <a:cubicBezTo>
                      <a:pt x="3397" y="412"/>
                      <a:pt x="3397" y="412"/>
                      <a:pt x="3397" y="413"/>
                    </a:cubicBezTo>
                    <a:cubicBezTo>
                      <a:pt x="3304" y="424"/>
                      <a:pt x="3304" y="424"/>
                      <a:pt x="3304" y="424"/>
                    </a:cubicBezTo>
                    <a:cubicBezTo>
                      <a:pt x="3284" y="357"/>
                      <a:pt x="3221" y="307"/>
                      <a:pt x="3147" y="307"/>
                    </a:cubicBezTo>
                    <a:cubicBezTo>
                      <a:pt x="3077" y="307"/>
                      <a:pt x="3017" y="351"/>
                      <a:pt x="2994" y="414"/>
                    </a:cubicBezTo>
                    <a:cubicBezTo>
                      <a:pt x="2836" y="365"/>
                      <a:pt x="2836" y="365"/>
                      <a:pt x="2836" y="365"/>
                    </a:cubicBezTo>
                    <a:cubicBezTo>
                      <a:pt x="2839" y="352"/>
                      <a:pt x="2841" y="338"/>
                      <a:pt x="2841" y="324"/>
                    </a:cubicBezTo>
                    <a:cubicBezTo>
                      <a:pt x="2841" y="263"/>
                      <a:pt x="2807" y="211"/>
                      <a:pt x="2757" y="185"/>
                    </a:cubicBezTo>
                    <a:cubicBezTo>
                      <a:pt x="2787" y="109"/>
                      <a:pt x="2787" y="109"/>
                      <a:pt x="2787" y="109"/>
                    </a:cubicBezTo>
                    <a:cubicBezTo>
                      <a:pt x="2790" y="109"/>
                      <a:pt x="2793" y="110"/>
                      <a:pt x="2796" y="110"/>
                    </a:cubicBezTo>
                    <a:cubicBezTo>
                      <a:pt x="2821" y="110"/>
                      <a:pt x="2841" y="89"/>
                      <a:pt x="2841" y="65"/>
                    </a:cubicBezTo>
                    <a:cubicBezTo>
                      <a:pt x="2841" y="40"/>
                      <a:pt x="2821" y="20"/>
                      <a:pt x="2796" y="20"/>
                    </a:cubicBezTo>
                    <a:cubicBezTo>
                      <a:pt x="2771" y="20"/>
                      <a:pt x="2751" y="40"/>
                      <a:pt x="2751" y="65"/>
                    </a:cubicBezTo>
                    <a:cubicBezTo>
                      <a:pt x="2751" y="81"/>
                      <a:pt x="2760" y="95"/>
                      <a:pt x="2772" y="103"/>
                    </a:cubicBezTo>
                    <a:cubicBezTo>
                      <a:pt x="2742" y="179"/>
                      <a:pt x="2742" y="179"/>
                      <a:pt x="2742" y="179"/>
                    </a:cubicBezTo>
                    <a:cubicBezTo>
                      <a:pt x="2724" y="172"/>
                      <a:pt x="2705" y="168"/>
                      <a:pt x="2685" y="168"/>
                    </a:cubicBezTo>
                    <a:cubicBezTo>
                      <a:pt x="2658" y="168"/>
                      <a:pt x="2632" y="175"/>
                      <a:pt x="2609" y="188"/>
                    </a:cubicBezTo>
                    <a:cubicBezTo>
                      <a:pt x="2575" y="151"/>
                      <a:pt x="2575" y="151"/>
                      <a:pt x="2575" y="151"/>
                    </a:cubicBezTo>
                    <a:cubicBezTo>
                      <a:pt x="2579" y="146"/>
                      <a:pt x="2581" y="140"/>
                      <a:pt x="2581" y="134"/>
                    </a:cubicBezTo>
                    <a:cubicBezTo>
                      <a:pt x="2581" y="118"/>
                      <a:pt x="2568" y="105"/>
                      <a:pt x="2552" y="105"/>
                    </a:cubicBezTo>
                    <a:cubicBezTo>
                      <a:pt x="2536" y="105"/>
                      <a:pt x="2523" y="118"/>
                      <a:pt x="2523" y="134"/>
                    </a:cubicBezTo>
                    <a:cubicBezTo>
                      <a:pt x="2523" y="150"/>
                      <a:pt x="2536" y="163"/>
                      <a:pt x="2552" y="163"/>
                    </a:cubicBezTo>
                    <a:cubicBezTo>
                      <a:pt x="2556" y="163"/>
                      <a:pt x="2559" y="162"/>
                      <a:pt x="2563" y="161"/>
                    </a:cubicBezTo>
                    <a:cubicBezTo>
                      <a:pt x="2595" y="196"/>
                      <a:pt x="2595" y="196"/>
                      <a:pt x="2595" y="196"/>
                    </a:cubicBezTo>
                    <a:cubicBezTo>
                      <a:pt x="2555" y="225"/>
                      <a:pt x="2529" y="271"/>
                      <a:pt x="2529" y="324"/>
                    </a:cubicBezTo>
                    <a:cubicBezTo>
                      <a:pt x="2529" y="354"/>
                      <a:pt x="2538" y="383"/>
                      <a:pt x="2553" y="407"/>
                    </a:cubicBezTo>
                    <a:cubicBezTo>
                      <a:pt x="2334" y="546"/>
                      <a:pt x="2334" y="546"/>
                      <a:pt x="2334" y="546"/>
                    </a:cubicBezTo>
                    <a:cubicBezTo>
                      <a:pt x="2290" y="407"/>
                      <a:pt x="2159" y="306"/>
                      <a:pt x="2005" y="306"/>
                    </a:cubicBezTo>
                    <a:cubicBezTo>
                      <a:pt x="1840" y="306"/>
                      <a:pt x="1702" y="422"/>
                      <a:pt x="1668" y="577"/>
                    </a:cubicBezTo>
                    <a:cubicBezTo>
                      <a:pt x="1429" y="537"/>
                      <a:pt x="1429" y="537"/>
                      <a:pt x="1429" y="537"/>
                    </a:cubicBezTo>
                    <a:cubicBezTo>
                      <a:pt x="1430" y="527"/>
                      <a:pt x="1431" y="518"/>
                      <a:pt x="1431" y="508"/>
                    </a:cubicBezTo>
                    <a:cubicBezTo>
                      <a:pt x="1431" y="442"/>
                      <a:pt x="1390" y="386"/>
                      <a:pt x="1331" y="365"/>
                    </a:cubicBezTo>
                    <a:cubicBezTo>
                      <a:pt x="1374" y="269"/>
                      <a:pt x="1374" y="269"/>
                      <a:pt x="1374" y="269"/>
                    </a:cubicBezTo>
                    <a:cubicBezTo>
                      <a:pt x="1375" y="270"/>
                      <a:pt x="1377" y="270"/>
                      <a:pt x="1378" y="270"/>
                    </a:cubicBezTo>
                    <a:cubicBezTo>
                      <a:pt x="1403" y="270"/>
                      <a:pt x="1423" y="249"/>
                      <a:pt x="1423" y="225"/>
                    </a:cubicBezTo>
                    <a:cubicBezTo>
                      <a:pt x="1423" y="200"/>
                      <a:pt x="1403" y="180"/>
                      <a:pt x="1378" y="180"/>
                    </a:cubicBezTo>
                    <a:cubicBezTo>
                      <a:pt x="1353" y="180"/>
                      <a:pt x="1333" y="200"/>
                      <a:pt x="1333" y="225"/>
                    </a:cubicBezTo>
                    <a:cubicBezTo>
                      <a:pt x="1333" y="242"/>
                      <a:pt x="1343" y="258"/>
                      <a:pt x="1358" y="265"/>
                    </a:cubicBezTo>
                    <a:cubicBezTo>
                      <a:pt x="1316" y="360"/>
                      <a:pt x="1316" y="360"/>
                      <a:pt x="1316" y="360"/>
                    </a:cubicBezTo>
                    <a:cubicBezTo>
                      <a:pt x="1304" y="358"/>
                      <a:pt x="1292" y="356"/>
                      <a:pt x="1279" y="356"/>
                    </a:cubicBezTo>
                    <a:cubicBezTo>
                      <a:pt x="1224" y="356"/>
                      <a:pt x="1176" y="385"/>
                      <a:pt x="1149" y="430"/>
                    </a:cubicBezTo>
                    <a:cubicBezTo>
                      <a:pt x="994" y="297"/>
                      <a:pt x="994" y="297"/>
                      <a:pt x="994" y="297"/>
                    </a:cubicBezTo>
                    <a:cubicBezTo>
                      <a:pt x="1006" y="280"/>
                      <a:pt x="1013" y="258"/>
                      <a:pt x="1013" y="235"/>
                    </a:cubicBezTo>
                    <a:cubicBezTo>
                      <a:pt x="1013" y="174"/>
                      <a:pt x="964" y="124"/>
                      <a:pt x="902" y="124"/>
                    </a:cubicBezTo>
                    <a:cubicBezTo>
                      <a:pt x="879" y="124"/>
                      <a:pt x="858" y="131"/>
                      <a:pt x="840" y="143"/>
                    </a:cubicBezTo>
                    <a:cubicBezTo>
                      <a:pt x="794" y="80"/>
                      <a:pt x="794" y="80"/>
                      <a:pt x="794" y="80"/>
                    </a:cubicBezTo>
                    <a:cubicBezTo>
                      <a:pt x="804" y="72"/>
                      <a:pt x="811" y="59"/>
                      <a:pt x="811" y="45"/>
                    </a:cubicBezTo>
                    <a:cubicBezTo>
                      <a:pt x="811" y="20"/>
                      <a:pt x="791" y="0"/>
                      <a:pt x="766" y="0"/>
                    </a:cubicBezTo>
                    <a:cubicBezTo>
                      <a:pt x="741" y="0"/>
                      <a:pt x="721" y="20"/>
                      <a:pt x="721" y="45"/>
                    </a:cubicBezTo>
                    <a:cubicBezTo>
                      <a:pt x="721" y="69"/>
                      <a:pt x="741" y="90"/>
                      <a:pt x="766" y="90"/>
                    </a:cubicBezTo>
                    <a:cubicBezTo>
                      <a:pt x="771" y="90"/>
                      <a:pt x="775" y="89"/>
                      <a:pt x="780" y="87"/>
                    </a:cubicBezTo>
                    <a:cubicBezTo>
                      <a:pt x="827" y="153"/>
                      <a:pt x="827" y="153"/>
                      <a:pt x="827" y="153"/>
                    </a:cubicBezTo>
                    <a:cubicBezTo>
                      <a:pt x="805" y="173"/>
                      <a:pt x="791" y="203"/>
                      <a:pt x="791" y="235"/>
                    </a:cubicBezTo>
                    <a:cubicBezTo>
                      <a:pt x="791" y="256"/>
                      <a:pt x="797" y="276"/>
                      <a:pt x="808" y="293"/>
                    </a:cubicBezTo>
                    <a:cubicBezTo>
                      <a:pt x="741" y="357"/>
                      <a:pt x="741" y="357"/>
                      <a:pt x="741" y="357"/>
                    </a:cubicBezTo>
                    <a:cubicBezTo>
                      <a:pt x="732" y="349"/>
                      <a:pt x="719" y="344"/>
                      <a:pt x="706" y="344"/>
                    </a:cubicBezTo>
                    <a:cubicBezTo>
                      <a:pt x="686" y="344"/>
                      <a:pt x="669" y="355"/>
                      <a:pt x="660" y="371"/>
                    </a:cubicBezTo>
                    <a:cubicBezTo>
                      <a:pt x="564" y="325"/>
                      <a:pt x="564" y="325"/>
                      <a:pt x="564" y="325"/>
                    </a:cubicBezTo>
                    <a:cubicBezTo>
                      <a:pt x="567" y="312"/>
                      <a:pt x="569" y="298"/>
                      <a:pt x="569" y="285"/>
                    </a:cubicBezTo>
                    <a:cubicBezTo>
                      <a:pt x="569" y="188"/>
                      <a:pt x="488" y="109"/>
                      <a:pt x="388" y="109"/>
                    </a:cubicBezTo>
                    <a:cubicBezTo>
                      <a:pt x="320" y="109"/>
                      <a:pt x="261" y="146"/>
                      <a:pt x="231" y="199"/>
                    </a:cubicBezTo>
                    <a:cubicBezTo>
                      <a:pt x="162" y="155"/>
                      <a:pt x="162" y="155"/>
                      <a:pt x="162" y="155"/>
                    </a:cubicBezTo>
                    <a:cubicBezTo>
                      <a:pt x="166" y="145"/>
                      <a:pt x="168" y="135"/>
                      <a:pt x="168" y="123"/>
                    </a:cubicBezTo>
                    <a:cubicBezTo>
                      <a:pt x="168" y="77"/>
                      <a:pt x="131" y="39"/>
                      <a:pt x="84" y="39"/>
                    </a:cubicBezTo>
                    <a:cubicBezTo>
                      <a:pt x="38" y="39"/>
                      <a:pt x="0" y="77"/>
                      <a:pt x="0" y="123"/>
                    </a:cubicBezTo>
                    <a:cubicBezTo>
                      <a:pt x="0" y="170"/>
                      <a:pt x="38" y="207"/>
                      <a:pt x="84" y="207"/>
                    </a:cubicBezTo>
                    <a:cubicBezTo>
                      <a:pt x="114" y="207"/>
                      <a:pt x="139" y="192"/>
                      <a:pt x="154" y="170"/>
                    </a:cubicBezTo>
                    <a:cubicBezTo>
                      <a:pt x="223" y="214"/>
                      <a:pt x="223" y="214"/>
                      <a:pt x="223" y="214"/>
                    </a:cubicBezTo>
                    <a:cubicBezTo>
                      <a:pt x="213" y="235"/>
                      <a:pt x="208" y="259"/>
                      <a:pt x="208" y="285"/>
                    </a:cubicBezTo>
                    <a:cubicBezTo>
                      <a:pt x="208" y="344"/>
                      <a:pt x="239" y="397"/>
                      <a:pt x="286" y="429"/>
                    </a:cubicBezTo>
                    <a:cubicBezTo>
                      <a:pt x="230" y="516"/>
                      <a:pt x="230" y="516"/>
                      <a:pt x="230" y="516"/>
                    </a:cubicBezTo>
                    <a:cubicBezTo>
                      <a:pt x="225" y="514"/>
                      <a:pt x="220" y="514"/>
                      <a:pt x="214" y="514"/>
                    </a:cubicBezTo>
                    <a:cubicBezTo>
                      <a:pt x="185" y="514"/>
                      <a:pt x="161" y="537"/>
                      <a:pt x="161" y="567"/>
                    </a:cubicBezTo>
                    <a:cubicBezTo>
                      <a:pt x="161" y="596"/>
                      <a:pt x="185" y="620"/>
                      <a:pt x="214" y="620"/>
                    </a:cubicBezTo>
                    <a:cubicBezTo>
                      <a:pt x="243" y="620"/>
                      <a:pt x="267" y="596"/>
                      <a:pt x="267" y="567"/>
                    </a:cubicBezTo>
                    <a:cubicBezTo>
                      <a:pt x="267" y="549"/>
                      <a:pt x="258" y="533"/>
                      <a:pt x="244" y="523"/>
                    </a:cubicBezTo>
                    <a:cubicBezTo>
                      <a:pt x="300" y="437"/>
                      <a:pt x="300" y="437"/>
                      <a:pt x="300" y="437"/>
                    </a:cubicBezTo>
                    <a:cubicBezTo>
                      <a:pt x="326" y="452"/>
                      <a:pt x="356" y="460"/>
                      <a:pt x="388" y="460"/>
                    </a:cubicBezTo>
                    <a:cubicBezTo>
                      <a:pt x="468" y="460"/>
                      <a:pt x="535" y="410"/>
                      <a:pt x="559" y="340"/>
                    </a:cubicBezTo>
                    <a:cubicBezTo>
                      <a:pt x="654" y="386"/>
                      <a:pt x="654" y="386"/>
                      <a:pt x="654" y="386"/>
                    </a:cubicBezTo>
                    <a:cubicBezTo>
                      <a:pt x="653" y="389"/>
                      <a:pt x="653" y="393"/>
                      <a:pt x="653" y="397"/>
                    </a:cubicBezTo>
                    <a:cubicBezTo>
                      <a:pt x="653" y="426"/>
                      <a:pt x="677" y="450"/>
                      <a:pt x="706" y="450"/>
                    </a:cubicBezTo>
                    <a:cubicBezTo>
                      <a:pt x="735" y="450"/>
                      <a:pt x="759" y="426"/>
                      <a:pt x="759" y="397"/>
                    </a:cubicBezTo>
                    <a:cubicBezTo>
                      <a:pt x="759" y="387"/>
                      <a:pt x="756" y="377"/>
                      <a:pt x="751" y="369"/>
                    </a:cubicBezTo>
                    <a:cubicBezTo>
                      <a:pt x="817" y="306"/>
                      <a:pt x="817" y="306"/>
                      <a:pt x="817" y="306"/>
                    </a:cubicBezTo>
                    <a:cubicBezTo>
                      <a:pt x="838" y="331"/>
                      <a:pt x="868" y="346"/>
                      <a:pt x="902" y="346"/>
                    </a:cubicBezTo>
                    <a:cubicBezTo>
                      <a:pt x="935" y="346"/>
                      <a:pt x="964" y="332"/>
                      <a:pt x="984" y="310"/>
                    </a:cubicBezTo>
                    <a:cubicBezTo>
                      <a:pt x="1141" y="444"/>
                      <a:pt x="1141" y="444"/>
                      <a:pt x="1141" y="444"/>
                    </a:cubicBezTo>
                    <a:cubicBezTo>
                      <a:pt x="1132" y="463"/>
                      <a:pt x="1127" y="485"/>
                      <a:pt x="1127" y="508"/>
                    </a:cubicBezTo>
                    <a:cubicBezTo>
                      <a:pt x="1127" y="520"/>
                      <a:pt x="1129" y="532"/>
                      <a:pt x="1132" y="544"/>
                    </a:cubicBezTo>
                    <a:cubicBezTo>
                      <a:pt x="1068" y="567"/>
                      <a:pt x="1068" y="567"/>
                      <a:pt x="1068" y="567"/>
                    </a:cubicBezTo>
                    <a:cubicBezTo>
                      <a:pt x="1060" y="553"/>
                      <a:pt x="1045" y="544"/>
                      <a:pt x="1028" y="544"/>
                    </a:cubicBezTo>
                    <a:cubicBezTo>
                      <a:pt x="1003" y="544"/>
                      <a:pt x="983" y="564"/>
                      <a:pt x="983" y="589"/>
                    </a:cubicBezTo>
                    <a:cubicBezTo>
                      <a:pt x="983" y="613"/>
                      <a:pt x="1003" y="634"/>
                      <a:pt x="1028" y="634"/>
                    </a:cubicBezTo>
                    <a:cubicBezTo>
                      <a:pt x="1053" y="634"/>
                      <a:pt x="1073" y="613"/>
                      <a:pt x="1073" y="589"/>
                    </a:cubicBezTo>
                    <a:cubicBezTo>
                      <a:pt x="1073" y="587"/>
                      <a:pt x="1073" y="585"/>
                      <a:pt x="1073" y="583"/>
                    </a:cubicBezTo>
                    <a:cubicBezTo>
                      <a:pt x="1136" y="559"/>
                      <a:pt x="1136" y="559"/>
                      <a:pt x="1136" y="559"/>
                    </a:cubicBezTo>
                    <a:cubicBezTo>
                      <a:pt x="1157" y="618"/>
                      <a:pt x="1213" y="660"/>
                      <a:pt x="1279" y="660"/>
                    </a:cubicBezTo>
                    <a:cubicBezTo>
                      <a:pt x="1300" y="660"/>
                      <a:pt x="1320" y="656"/>
                      <a:pt x="1339" y="648"/>
                    </a:cubicBezTo>
                    <a:cubicBezTo>
                      <a:pt x="1356" y="677"/>
                      <a:pt x="1356" y="677"/>
                      <a:pt x="1356" y="677"/>
                    </a:cubicBezTo>
                    <a:cubicBezTo>
                      <a:pt x="1347" y="685"/>
                      <a:pt x="1341" y="697"/>
                      <a:pt x="1341" y="711"/>
                    </a:cubicBezTo>
                    <a:cubicBezTo>
                      <a:pt x="1341" y="735"/>
                      <a:pt x="1361" y="756"/>
                      <a:pt x="1386" y="756"/>
                    </a:cubicBezTo>
                    <a:cubicBezTo>
                      <a:pt x="1411" y="756"/>
                      <a:pt x="1431" y="735"/>
                      <a:pt x="1431" y="711"/>
                    </a:cubicBezTo>
                    <a:cubicBezTo>
                      <a:pt x="1431" y="686"/>
                      <a:pt x="1411" y="666"/>
                      <a:pt x="1386" y="666"/>
                    </a:cubicBezTo>
                    <a:cubicBezTo>
                      <a:pt x="1380" y="666"/>
                      <a:pt x="1375" y="667"/>
                      <a:pt x="1370" y="669"/>
                    </a:cubicBezTo>
                    <a:cubicBezTo>
                      <a:pt x="1353" y="641"/>
                      <a:pt x="1353" y="641"/>
                      <a:pt x="1353" y="641"/>
                    </a:cubicBezTo>
                    <a:cubicBezTo>
                      <a:pt x="1387" y="622"/>
                      <a:pt x="1413" y="590"/>
                      <a:pt x="1425" y="552"/>
                    </a:cubicBezTo>
                    <a:cubicBezTo>
                      <a:pt x="1665" y="592"/>
                      <a:pt x="1665" y="592"/>
                      <a:pt x="1665" y="592"/>
                    </a:cubicBezTo>
                    <a:cubicBezTo>
                      <a:pt x="1662" y="611"/>
                      <a:pt x="1660" y="631"/>
                      <a:pt x="1660" y="651"/>
                    </a:cubicBezTo>
                    <a:cubicBezTo>
                      <a:pt x="1660" y="841"/>
                      <a:pt x="1814" y="996"/>
                      <a:pt x="2005" y="996"/>
                    </a:cubicBezTo>
                    <a:cubicBezTo>
                      <a:pt x="2196" y="996"/>
                      <a:pt x="2350" y="841"/>
                      <a:pt x="2350" y="651"/>
                    </a:cubicBezTo>
                    <a:cubicBezTo>
                      <a:pt x="2350" y="620"/>
                      <a:pt x="2346" y="591"/>
                      <a:pt x="2338" y="562"/>
                    </a:cubicBezTo>
                    <a:cubicBezTo>
                      <a:pt x="2562" y="420"/>
                      <a:pt x="2562" y="420"/>
                      <a:pt x="2562" y="420"/>
                    </a:cubicBezTo>
                    <a:cubicBezTo>
                      <a:pt x="2591" y="456"/>
                      <a:pt x="2635" y="480"/>
                      <a:pt x="2685" y="480"/>
                    </a:cubicBezTo>
                    <a:cubicBezTo>
                      <a:pt x="2700" y="480"/>
                      <a:pt x="2715" y="478"/>
                      <a:pt x="2728" y="474"/>
                    </a:cubicBezTo>
                    <a:cubicBezTo>
                      <a:pt x="2757" y="535"/>
                      <a:pt x="2757" y="535"/>
                      <a:pt x="2757" y="535"/>
                    </a:cubicBezTo>
                    <a:cubicBezTo>
                      <a:pt x="2728" y="548"/>
                      <a:pt x="2708" y="577"/>
                      <a:pt x="2708" y="611"/>
                    </a:cubicBezTo>
                    <a:cubicBezTo>
                      <a:pt x="2708" y="658"/>
                      <a:pt x="2746" y="695"/>
                      <a:pt x="2792" y="695"/>
                    </a:cubicBezTo>
                    <a:cubicBezTo>
                      <a:pt x="2839" y="695"/>
                      <a:pt x="2876" y="658"/>
                      <a:pt x="2876" y="611"/>
                    </a:cubicBezTo>
                    <a:cubicBezTo>
                      <a:pt x="2876" y="565"/>
                      <a:pt x="2839" y="527"/>
                      <a:pt x="2792" y="527"/>
                    </a:cubicBezTo>
                    <a:cubicBezTo>
                      <a:pt x="2786" y="527"/>
                      <a:pt x="2779" y="528"/>
                      <a:pt x="2773" y="530"/>
                    </a:cubicBezTo>
                    <a:cubicBezTo>
                      <a:pt x="2743" y="469"/>
                      <a:pt x="2743" y="469"/>
                      <a:pt x="2743" y="469"/>
                    </a:cubicBezTo>
                    <a:cubicBezTo>
                      <a:pt x="2783" y="453"/>
                      <a:pt x="2815" y="420"/>
                      <a:pt x="2831" y="380"/>
                    </a:cubicBezTo>
                    <a:cubicBezTo>
                      <a:pt x="2989" y="429"/>
                      <a:pt x="2989" y="429"/>
                      <a:pt x="2989" y="429"/>
                    </a:cubicBezTo>
                    <a:cubicBezTo>
                      <a:pt x="2986" y="442"/>
                      <a:pt x="2984" y="456"/>
                      <a:pt x="2984" y="471"/>
                    </a:cubicBezTo>
                    <a:cubicBezTo>
                      <a:pt x="2984" y="539"/>
                      <a:pt x="3026" y="597"/>
                      <a:pt x="3085" y="622"/>
                    </a:cubicBezTo>
                    <a:cubicBezTo>
                      <a:pt x="3029" y="789"/>
                      <a:pt x="3029" y="789"/>
                      <a:pt x="3029" y="789"/>
                    </a:cubicBezTo>
                    <a:cubicBezTo>
                      <a:pt x="3026" y="788"/>
                      <a:pt x="3023" y="788"/>
                      <a:pt x="3020" y="788"/>
                    </a:cubicBezTo>
                    <a:cubicBezTo>
                      <a:pt x="2995" y="788"/>
                      <a:pt x="2975" y="808"/>
                      <a:pt x="2975" y="833"/>
                    </a:cubicBezTo>
                    <a:cubicBezTo>
                      <a:pt x="2975" y="857"/>
                      <a:pt x="2995" y="878"/>
                      <a:pt x="3020" y="878"/>
                    </a:cubicBezTo>
                    <a:cubicBezTo>
                      <a:pt x="3045" y="878"/>
                      <a:pt x="3065" y="857"/>
                      <a:pt x="3065" y="833"/>
                    </a:cubicBezTo>
                    <a:cubicBezTo>
                      <a:pt x="3065" y="817"/>
                      <a:pt x="3057" y="803"/>
                      <a:pt x="3044" y="795"/>
                    </a:cubicBezTo>
                    <a:cubicBezTo>
                      <a:pt x="3100" y="627"/>
                      <a:pt x="3100" y="627"/>
                      <a:pt x="3100" y="627"/>
                    </a:cubicBezTo>
                    <a:cubicBezTo>
                      <a:pt x="3115" y="631"/>
                      <a:pt x="3131" y="634"/>
                      <a:pt x="3147" y="634"/>
                    </a:cubicBezTo>
                    <a:cubicBezTo>
                      <a:pt x="3198" y="634"/>
                      <a:pt x="3243" y="611"/>
                      <a:pt x="3273" y="575"/>
                    </a:cubicBezTo>
                    <a:cubicBezTo>
                      <a:pt x="3459" y="656"/>
                      <a:pt x="3459" y="656"/>
                      <a:pt x="3459" y="656"/>
                    </a:cubicBezTo>
                    <a:cubicBezTo>
                      <a:pt x="3457" y="662"/>
                      <a:pt x="3456" y="669"/>
                      <a:pt x="3456" y="675"/>
                    </a:cubicBezTo>
                    <a:cubicBezTo>
                      <a:pt x="3456" y="722"/>
                      <a:pt x="3494" y="759"/>
                      <a:pt x="3540" y="759"/>
                    </a:cubicBezTo>
                    <a:cubicBezTo>
                      <a:pt x="3587" y="759"/>
                      <a:pt x="3624" y="722"/>
                      <a:pt x="3624" y="675"/>
                    </a:cubicBezTo>
                    <a:cubicBezTo>
                      <a:pt x="3624" y="629"/>
                      <a:pt x="3587" y="591"/>
                      <a:pt x="3540" y="591"/>
                    </a:cubicBezTo>
                    <a:cubicBezTo>
                      <a:pt x="3506" y="591"/>
                      <a:pt x="3477" y="612"/>
                      <a:pt x="3464" y="641"/>
                    </a:cubicBezTo>
                    <a:cubicBezTo>
                      <a:pt x="3283" y="562"/>
                      <a:pt x="3283" y="562"/>
                      <a:pt x="3283" y="562"/>
                    </a:cubicBezTo>
                    <a:cubicBezTo>
                      <a:pt x="3300" y="536"/>
                      <a:pt x="3311" y="504"/>
                      <a:pt x="3311" y="471"/>
                    </a:cubicBezTo>
                    <a:cubicBezTo>
                      <a:pt x="3311" y="460"/>
                      <a:pt x="3310" y="450"/>
                      <a:pt x="3308" y="440"/>
                    </a:cubicBezTo>
                    <a:cubicBezTo>
                      <a:pt x="3401" y="429"/>
                      <a:pt x="3401" y="429"/>
                      <a:pt x="3401" y="429"/>
                    </a:cubicBezTo>
                    <a:cubicBezTo>
                      <a:pt x="3408" y="445"/>
                      <a:pt x="3424" y="456"/>
                      <a:pt x="3442" y="456"/>
                    </a:cubicBezTo>
                    <a:cubicBezTo>
                      <a:pt x="3467" y="456"/>
                      <a:pt x="3487" y="435"/>
                      <a:pt x="3487" y="411"/>
                    </a:cubicBezTo>
                    <a:cubicBezTo>
                      <a:pt x="3487" y="400"/>
                      <a:pt x="3483" y="390"/>
                      <a:pt x="3477" y="382"/>
                    </a:cubicBezTo>
                    <a:cubicBezTo>
                      <a:pt x="3551" y="280"/>
                      <a:pt x="3551" y="280"/>
                      <a:pt x="3551" y="280"/>
                    </a:cubicBezTo>
                    <a:cubicBezTo>
                      <a:pt x="3571" y="291"/>
                      <a:pt x="3594" y="298"/>
                      <a:pt x="3618" y="298"/>
                    </a:cubicBezTo>
                    <a:cubicBezTo>
                      <a:pt x="3662" y="298"/>
                      <a:pt x="3702" y="277"/>
                      <a:pt x="3726" y="244"/>
                    </a:cubicBezTo>
                    <a:cubicBezTo>
                      <a:pt x="3856" y="333"/>
                      <a:pt x="3856" y="333"/>
                      <a:pt x="3856" y="333"/>
                    </a:cubicBezTo>
                    <a:cubicBezTo>
                      <a:pt x="3850" y="344"/>
                      <a:pt x="3846" y="357"/>
                      <a:pt x="3846" y="371"/>
                    </a:cubicBezTo>
                    <a:cubicBezTo>
                      <a:pt x="3846" y="418"/>
                      <a:pt x="3884" y="455"/>
                      <a:pt x="3930" y="455"/>
                    </a:cubicBezTo>
                    <a:cubicBezTo>
                      <a:pt x="3977" y="455"/>
                      <a:pt x="4014" y="418"/>
                      <a:pt x="4014" y="371"/>
                    </a:cubicBezTo>
                    <a:cubicBezTo>
                      <a:pt x="4014" y="325"/>
                      <a:pt x="3977" y="287"/>
                      <a:pt x="3930" y="287"/>
                    </a:cubicBezTo>
                    <a:close/>
                    <a:moveTo>
                      <a:pt x="2796" y="42"/>
                    </a:moveTo>
                    <a:cubicBezTo>
                      <a:pt x="2808" y="42"/>
                      <a:pt x="2818" y="52"/>
                      <a:pt x="2818" y="65"/>
                    </a:cubicBezTo>
                    <a:cubicBezTo>
                      <a:pt x="2818" y="77"/>
                      <a:pt x="2808" y="87"/>
                      <a:pt x="2796" y="87"/>
                    </a:cubicBezTo>
                    <a:cubicBezTo>
                      <a:pt x="2784" y="87"/>
                      <a:pt x="2774" y="77"/>
                      <a:pt x="2774" y="65"/>
                    </a:cubicBezTo>
                    <a:cubicBezTo>
                      <a:pt x="2774" y="52"/>
                      <a:pt x="2784" y="42"/>
                      <a:pt x="2796" y="42"/>
                    </a:cubicBezTo>
                    <a:close/>
                    <a:moveTo>
                      <a:pt x="2536" y="134"/>
                    </a:moveTo>
                    <a:cubicBezTo>
                      <a:pt x="2536" y="125"/>
                      <a:pt x="2543" y="118"/>
                      <a:pt x="2552" y="118"/>
                    </a:cubicBezTo>
                    <a:cubicBezTo>
                      <a:pt x="2561" y="118"/>
                      <a:pt x="2569" y="125"/>
                      <a:pt x="2569" y="134"/>
                    </a:cubicBezTo>
                    <a:cubicBezTo>
                      <a:pt x="2569" y="143"/>
                      <a:pt x="2561" y="150"/>
                      <a:pt x="2552" y="150"/>
                    </a:cubicBezTo>
                    <a:cubicBezTo>
                      <a:pt x="2543" y="150"/>
                      <a:pt x="2536" y="143"/>
                      <a:pt x="2536" y="134"/>
                    </a:cubicBezTo>
                    <a:close/>
                    <a:moveTo>
                      <a:pt x="1378" y="202"/>
                    </a:moveTo>
                    <a:cubicBezTo>
                      <a:pt x="1390" y="202"/>
                      <a:pt x="1400" y="212"/>
                      <a:pt x="1400" y="225"/>
                    </a:cubicBezTo>
                    <a:cubicBezTo>
                      <a:pt x="1400" y="237"/>
                      <a:pt x="1390" y="247"/>
                      <a:pt x="1378" y="247"/>
                    </a:cubicBezTo>
                    <a:cubicBezTo>
                      <a:pt x="1366" y="247"/>
                      <a:pt x="1356" y="237"/>
                      <a:pt x="1356" y="225"/>
                    </a:cubicBezTo>
                    <a:cubicBezTo>
                      <a:pt x="1356" y="212"/>
                      <a:pt x="1366" y="202"/>
                      <a:pt x="1378" y="202"/>
                    </a:cubicBezTo>
                    <a:close/>
                    <a:moveTo>
                      <a:pt x="744" y="45"/>
                    </a:moveTo>
                    <a:cubicBezTo>
                      <a:pt x="744" y="32"/>
                      <a:pt x="754" y="22"/>
                      <a:pt x="766" y="22"/>
                    </a:cubicBezTo>
                    <a:cubicBezTo>
                      <a:pt x="778" y="22"/>
                      <a:pt x="788" y="32"/>
                      <a:pt x="788" y="45"/>
                    </a:cubicBezTo>
                    <a:cubicBezTo>
                      <a:pt x="788" y="57"/>
                      <a:pt x="778" y="67"/>
                      <a:pt x="766" y="67"/>
                    </a:cubicBezTo>
                    <a:cubicBezTo>
                      <a:pt x="754" y="67"/>
                      <a:pt x="744" y="57"/>
                      <a:pt x="744" y="45"/>
                    </a:cubicBezTo>
                    <a:close/>
                    <a:moveTo>
                      <a:pt x="84" y="166"/>
                    </a:moveTo>
                    <a:cubicBezTo>
                      <a:pt x="61" y="166"/>
                      <a:pt x="42" y="147"/>
                      <a:pt x="42" y="123"/>
                    </a:cubicBezTo>
                    <a:cubicBezTo>
                      <a:pt x="42" y="100"/>
                      <a:pt x="61" y="81"/>
                      <a:pt x="84" y="81"/>
                    </a:cubicBezTo>
                    <a:cubicBezTo>
                      <a:pt x="108" y="81"/>
                      <a:pt x="127" y="100"/>
                      <a:pt x="127" y="123"/>
                    </a:cubicBezTo>
                    <a:cubicBezTo>
                      <a:pt x="127" y="147"/>
                      <a:pt x="108" y="166"/>
                      <a:pt x="84" y="166"/>
                    </a:cubicBezTo>
                    <a:close/>
                    <a:moveTo>
                      <a:pt x="214" y="593"/>
                    </a:moveTo>
                    <a:cubicBezTo>
                      <a:pt x="199" y="593"/>
                      <a:pt x="188" y="581"/>
                      <a:pt x="188" y="567"/>
                    </a:cubicBezTo>
                    <a:cubicBezTo>
                      <a:pt x="188" y="552"/>
                      <a:pt x="199" y="540"/>
                      <a:pt x="214" y="540"/>
                    </a:cubicBezTo>
                    <a:cubicBezTo>
                      <a:pt x="229" y="540"/>
                      <a:pt x="240" y="552"/>
                      <a:pt x="240" y="567"/>
                    </a:cubicBezTo>
                    <a:cubicBezTo>
                      <a:pt x="240" y="581"/>
                      <a:pt x="229" y="593"/>
                      <a:pt x="214" y="593"/>
                    </a:cubicBezTo>
                    <a:close/>
                    <a:moveTo>
                      <a:pt x="388" y="385"/>
                    </a:moveTo>
                    <a:cubicBezTo>
                      <a:pt x="330" y="385"/>
                      <a:pt x="282" y="339"/>
                      <a:pt x="282" y="282"/>
                    </a:cubicBezTo>
                    <a:cubicBezTo>
                      <a:pt x="282" y="225"/>
                      <a:pt x="330" y="179"/>
                      <a:pt x="388" y="179"/>
                    </a:cubicBezTo>
                    <a:cubicBezTo>
                      <a:pt x="447" y="179"/>
                      <a:pt x="494" y="225"/>
                      <a:pt x="494" y="282"/>
                    </a:cubicBezTo>
                    <a:cubicBezTo>
                      <a:pt x="494" y="339"/>
                      <a:pt x="447" y="385"/>
                      <a:pt x="388" y="385"/>
                    </a:cubicBezTo>
                    <a:close/>
                    <a:moveTo>
                      <a:pt x="706" y="423"/>
                    </a:moveTo>
                    <a:cubicBezTo>
                      <a:pt x="691" y="423"/>
                      <a:pt x="680" y="411"/>
                      <a:pt x="680" y="397"/>
                    </a:cubicBezTo>
                    <a:cubicBezTo>
                      <a:pt x="680" y="382"/>
                      <a:pt x="691" y="370"/>
                      <a:pt x="706" y="370"/>
                    </a:cubicBezTo>
                    <a:cubicBezTo>
                      <a:pt x="721" y="370"/>
                      <a:pt x="732" y="382"/>
                      <a:pt x="732" y="397"/>
                    </a:cubicBezTo>
                    <a:cubicBezTo>
                      <a:pt x="732" y="411"/>
                      <a:pt x="721" y="423"/>
                      <a:pt x="706" y="423"/>
                    </a:cubicBezTo>
                    <a:close/>
                    <a:moveTo>
                      <a:pt x="902" y="298"/>
                    </a:moveTo>
                    <a:cubicBezTo>
                      <a:pt x="866" y="298"/>
                      <a:pt x="837" y="269"/>
                      <a:pt x="837" y="233"/>
                    </a:cubicBezTo>
                    <a:cubicBezTo>
                      <a:pt x="837" y="197"/>
                      <a:pt x="866" y="168"/>
                      <a:pt x="902" y="168"/>
                    </a:cubicBezTo>
                    <a:cubicBezTo>
                      <a:pt x="938" y="168"/>
                      <a:pt x="967" y="197"/>
                      <a:pt x="967" y="233"/>
                    </a:cubicBezTo>
                    <a:cubicBezTo>
                      <a:pt x="967" y="269"/>
                      <a:pt x="938" y="298"/>
                      <a:pt x="902" y="298"/>
                    </a:cubicBezTo>
                    <a:close/>
                    <a:moveTo>
                      <a:pt x="1028" y="611"/>
                    </a:moveTo>
                    <a:cubicBezTo>
                      <a:pt x="1016" y="611"/>
                      <a:pt x="1006" y="601"/>
                      <a:pt x="1006" y="589"/>
                    </a:cubicBezTo>
                    <a:cubicBezTo>
                      <a:pt x="1006" y="576"/>
                      <a:pt x="1016" y="566"/>
                      <a:pt x="1028" y="566"/>
                    </a:cubicBezTo>
                    <a:cubicBezTo>
                      <a:pt x="1040" y="566"/>
                      <a:pt x="1050" y="576"/>
                      <a:pt x="1050" y="589"/>
                    </a:cubicBezTo>
                    <a:cubicBezTo>
                      <a:pt x="1050" y="601"/>
                      <a:pt x="1040" y="611"/>
                      <a:pt x="1028" y="611"/>
                    </a:cubicBezTo>
                    <a:close/>
                    <a:moveTo>
                      <a:pt x="1408" y="711"/>
                    </a:moveTo>
                    <a:cubicBezTo>
                      <a:pt x="1408" y="723"/>
                      <a:pt x="1398" y="733"/>
                      <a:pt x="1386" y="733"/>
                    </a:cubicBezTo>
                    <a:cubicBezTo>
                      <a:pt x="1374" y="733"/>
                      <a:pt x="1364" y="723"/>
                      <a:pt x="1364" y="711"/>
                    </a:cubicBezTo>
                    <a:cubicBezTo>
                      <a:pt x="1364" y="698"/>
                      <a:pt x="1374" y="688"/>
                      <a:pt x="1386" y="688"/>
                    </a:cubicBezTo>
                    <a:cubicBezTo>
                      <a:pt x="1398" y="688"/>
                      <a:pt x="1408" y="698"/>
                      <a:pt x="1408" y="711"/>
                    </a:cubicBezTo>
                    <a:close/>
                    <a:moveTo>
                      <a:pt x="1279" y="595"/>
                    </a:moveTo>
                    <a:cubicBezTo>
                      <a:pt x="1230" y="595"/>
                      <a:pt x="1190" y="555"/>
                      <a:pt x="1190" y="506"/>
                    </a:cubicBezTo>
                    <a:cubicBezTo>
                      <a:pt x="1190" y="456"/>
                      <a:pt x="1230" y="416"/>
                      <a:pt x="1279" y="416"/>
                    </a:cubicBezTo>
                    <a:cubicBezTo>
                      <a:pt x="1328" y="416"/>
                      <a:pt x="1368" y="456"/>
                      <a:pt x="1368" y="506"/>
                    </a:cubicBezTo>
                    <a:cubicBezTo>
                      <a:pt x="1368" y="555"/>
                      <a:pt x="1328" y="595"/>
                      <a:pt x="1279" y="595"/>
                    </a:cubicBezTo>
                    <a:close/>
                    <a:moveTo>
                      <a:pt x="2005" y="866"/>
                    </a:moveTo>
                    <a:cubicBezTo>
                      <a:pt x="1885" y="866"/>
                      <a:pt x="1788" y="769"/>
                      <a:pt x="1788" y="649"/>
                    </a:cubicBezTo>
                    <a:cubicBezTo>
                      <a:pt x="1788" y="529"/>
                      <a:pt x="1885" y="432"/>
                      <a:pt x="2005" y="432"/>
                    </a:cubicBezTo>
                    <a:cubicBezTo>
                      <a:pt x="2125" y="432"/>
                      <a:pt x="2222" y="529"/>
                      <a:pt x="2222" y="649"/>
                    </a:cubicBezTo>
                    <a:cubicBezTo>
                      <a:pt x="2222" y="769"/>
                      <a:pt x="2125" y="866"/>
                      <a:pt x="2005" y="866"/>
                    </a:cubicBezTo>
                    <a:close/>
                    <a:moveTo>
                      <a:pt x="2835" y="611"/>
                    </a:moveTo>
                    <a:cubicBezTo>
                      <a:pt x="2835" y="635"/>
                      <a:pt x="2816" y="654"/>
                      <a:pt x="2792" y="654"/>
                    </a:cubicBezTo>
                    <a:cubicBezTo>
                      <a:pt x="2769" y="654"/>
                      <a:pt x="2750" y="635"/>
                      <a:pt x="2750" y="611"/>
                    </a:cubicBezTo>
                    <a:cubicBezTo>
                      <a:pt x="2750" y="588"/>
                      <a:pt x="2769" y="569"/>
                      <a:pt x="2792" y="569"/>
                    </a:cubicBezTo>
                    <a:cubicBezTo>
                      <a:pt x="2816" y="569"/>
                      <a:pt x="2835" y="588"/>
                      <a:pt x="2835" y="611"/>
                    </a:cubicBezTo>
                    <a:close/>
                    <a:moveTo>
                      <a:pt x="2685" y="413"/>
                    </a:moveTo>
                    <a:cubicBezTo>
                      <a:pt x="2635" y="413"/>
                      <a:pt x="2594" y="372"/>
                      <a:pt x="2594" y="321"/>
                    </a:cubicBezTo>
                    <a:cubicBezTo>
                      <a:pt x="2594" y="271"/>
                      <a:pt x="2635" y="230"/>
                      <a:pt x="2685" y="230"/>
                    </a:cubicBezTo>
                    <a:cubicBezTo>
                      <a:pt x="2736" y="230"/>
                      <a:pt x="2777" y="271"/>
                      <a:pt x="2777" y="321"/>
                    </a:cubicBezTo>
                    <a:cubicBezTo>
                      <a:pt x="2777" y="372"/>
                      <a:pt x="2736" y="413"/>
                      <a:pt x="2685" y="413"/>
                    </a:cubicBezTo>
                    <a:close/>
                    <a:moveTo>
                      <a:pt x="3020" y="855"/>
                    </a:moveTo>
                    <a:cubicBezTo>
                      <a:pt x="3008" y="855"/>
                      <a:pt x="2998" y="845"/>
                      <a:pt x="2998" y="833"/>
                    </a:cubicBezTo>
                    <a:cubicBezTo>
                      <a:pt x="2998" y="820"/>
                      <a:pt x="3008" y="810"/>
                      <a:pt x="3020" y="810"/>
                    </a:cubicBezTo>
                    <a:cubicBezTo>
                      <a:pt x="3032" y="810"/>
                      <a:pt x="3042" y="820"/>
                      <a:pt x="3042" y="833"/>
                    </a:cubicBezTo>
                    <a:cubicBezTo>
                      <a:pt x="3042" y="845"/>
                      <a:pt x="3032" y="855"/>
                      <a:pt x="3020" y="855"/>
                    </a:cubicBezTo>
                    <a:close/>
                    <a:moveTo>
                      <a:pt x="3147" y="564"/>
                    </a:moveTo>
                    <a:cubicBezTo>
                      <a:pt x="3094" y="564"/>
                      <a:pt x="3051" y="521"/>
                      <a:pt x="3051" y="468"/>
                    </a:cubicBezTo>
                    <a:cubicBezTo>
                      <a:pt x="3051" y="415"/>
                      <a:pt x="3094" y="372"/>
                      <a:pt x="3147" y="372"/>
                    </a:cubicBezTo>
                    <a:cubicBezTo>
                      <a:pt x="3200" y="372"/>
                      <a:pt x="3243" y="415"/>
                      <a:pt x="3243" y="468"/>
                    </a:cubicBezTo>
                    <a:cubicBezTo>
                      <a:pt x="3243" y="521"/>
                      <a:pt x="3200" y="564"/>
                      <a:pt x="3147" y="564"/>
                    </a:cubicBezTo>
                    <a:close/>
                    <a:moveTo>
                      <a:pt x="3540" y="633"/>
                    </a:moveTo>
                    <a:cubicBezTo>
                      <a:pt x="3564" y="633"/>
                      <a:pt x="3583" y="652"/>
                      <a:pt x="3583" y="675"/>
                    </a:cubicBezTo>
                    <a:cubicBezTo>
                      <a:pt x="3583" y="699"/>
                      <a:pt x="3564" y="718"/>
                      <a:pt x="3540" y="718"/>
                    </a:cubicBezTo>
                    <a:cubicBezTo>
                      <a:pt x="3517" y="718"/>
                      <a:pt x="3498" y="699"/>
                      <a:pt x="3498" y="675"/>
                    </a:cubicBezTo>
                    <a:cubicBezTo>
                      <a:pt x="3498" y="652"/>
                      <a:pt x="3517" y="633"/>
                      <a:pt x="3540" y="633"/>
                    </a:cubicBezTo>
                    <a:close/>
                    <a:moveTo>
                      <a:pt x="3442" y="433"/>
                    </a:moveTo>
                    <a:cubicBezTo>
                      <a:pt x="3430" y="433"/>
                      <a:pt x="3420" y="423"/>
                      <a:pt x="3420" y="411"/>
                    </a:cubicBezTo>
                    <a:cubicBezTo>
                      <a:pt x="3420" y="398"/>
                      <a:pt x="3430" y="388"/>
                      <a:pt x="3442" y="388"/>
                    </a:cubicBezTo>
                    <a:cubicBezTo>
                      <a:pt x="3454" y="388"/>
                      <a:pt x="3464" y="398"/>
                      <a:pt x="3464" y="411"/>
                    </a:cubicBezTo>
                    <a:cubicBezTo>
                      <a:pt x="3464" y="423"/>
                      <a:pt x="3454" y="433"/>
                      <a:pt x="3442" y="433"/>
                    </a:cubicBezTo>
                    <a:close/>
                    <a:moveTo>
                      <a:pt x="3618" y="240"/>
                    </a:moveTo>
                    <a:cubicBezTo>
                      <a:pt x="3575" y="240"/>
                      <a:pt x="3539" y="205"/>
                      <a:pt x="3539" y="161"/>
                    </a:cubicBezTo>
                    <a:cubicBezTo>
                      <a:pt x="3539" y="117"/>
                      <a:pt x="3575" y="82"/>
                      <a:pt x="3618" y="82"/>
                    </a:cubicBezTo>
                    <a:cubicBezTo>
                      <a:pt x="3662" y="82"/>
                      <a:pt x="3697" y="117"/>
                      <a:pt x="3697" y="161"/>
                    </a:cubicBezTo>
                    <a:cubicBezTo>
                      <a:pt x="3697" y="205"/>
                      <a:pt x="3662" y="240"/>
                      <a:pt x="3618" y="240"/>
                    </a:cubicBezTo>
                    <a:close/>
                    <a:moveTo>
                      <a:pt x="3930" y="414"/>
                    </a:moveTo>
                    <a:cubicBezTo>
                      <a:pt x="3907" y="414"/>
                      <a:pt x="3888" y="395"/>
                      <a:pt x="3888" y="371"/>
                    </a:cubicBezTo>
                    <a:cubicBezTo>
                      <a:pt x="3888" y="348"/>
                      <a:pt x="3907" y="329"/>
                      <a:pt x="3930" y="329"/>
                    </a:cubicBezTo>
                    <a:cubicBezTo>
                      <a:pt x="3954" y="329"/>
                      <a:pt x="3973" y="348"/>
                      <a:pt x="3973" y="371"/>
                    </a:cubicBezTo>
                    <a:cubicBezTo>
                      <a:pt x="3973" y="395"/>
                      <a:pt x="3954" y="414"/>
                      <a:pt x="3930" y="4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Aptos" panose="020B0004020202020204" pitchFamily="34" charset="0"/>
                </a:endParaRPr>
              </a:p>
            </p:txBody>
          </p:sp>
          <p:sp>
            <p:nvSpPr>
              <p:cNvPr id="18" name="Oval 6"/>
              <p:cNvSpPr>
                <a:spLocks noChangeArrowheads="1"/>
              </p:cNvSpPr>
              <p:nvPr userDrawn="1"/>
            </p:nvSpPr>
            <p:spPr bwMode="auto">
              <a:xfrm>
                <a:off x="5694363" y="4705350"/>
                <a:ext cx="782638" cy="781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Aptos" panose="020B0004020202020204" pitchFamily="34" charset="0"/>
                </a:endParaRPr>
              </a:p>
            </p:txBody>
          </p:sp>
        </p:grpSp>
        <p:sp>
          <p:nvSpPr>
            <p:cNvPr id="15" name="Rechteck 14"/>
            <p:cNvSpPr/>
            <p:nvPr userDrawn="1"/>
          </p:nvSpPr>
          <p:spPr>
            <a:xfrm>
              <a:off x="0" y="0"/>
              <a:ext cx="12296726" cy="6858000"/>
            </a:xfrm>
            <a:prstGeom prst="rect">
              <a:avLst/>
            </a:prstGeom>
            <a:gradFill flip="none" rotWithShape="0">
              <a:gsLst>
                <a:gs pos="0">
                  <a:schemeClr val="tx1">
                    <a:alpha val="90000"/>
                  </a:schemeClr>
                </a:gs>
                <a:gs pos="50000">
                  <a:schemeClr val="tx1">
                    <a:lumMod val="85000"/>
                    <a:lumOff val="15000"/>
                    <a:alpha val="50000"/>
                  </a:schemeClr>
                </a:gs>
                <a:gs pos="100000">
                  <a:schemeClr val="tx1">
                    <a:lumMod val="65000"/>
                    <a:lumOff val="35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-12138" y="5805488"/>
              <a:ext cx="12202551" cy="10525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ptos" panose="020B0004020202020204" pitchFamily="34" charset="0"/>
              </a:endParaRPr>
            </a:p>
          </p:txBody>
        </p:sp>
      </p:grpSp>
      <p:sp>
        <p:nvSpPr>
          <p:cNvPr id="19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44376" y="4"/>
            <a:ext cx="10101664" cy="374144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800" b="0" cap="all">
                <a:solidFill>
                  <a:schemeClr val="bg1"/>
                </a:solidFill>
                <a:latin typeface="Aptos ExtraBold" panose="020B0004020202020204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20" name="Textplatzhalter 2"/>
          <p:cNvSpPr>
            <a:spLocks noGrp="1"/>
          </p:cNvSpPr>
          <p:nvPr userDrawn="1">
            <p:ph type="body" idx="1" hasCustomPrompt="1"/>
          </p:nvPr>
        </p:nvSpPr>
        <p:spPr>
          <a:xfrm>
            <a:off x="1044376" y="3741445"/>
            <a:ext cx="10101664" cy="2061759"/>
          </a:xfrm>
        </p:spPr>
        <p:txBody>
          <a:bodyPr vert="horz" lIns="10798" tIns="0" rIns="0" bIns="0" rtlCol="0" anchor="t" anchorCtr="0">
            <a:noAutofit/>
          </a:bodyPr>
          <a:lstStyle>
            <a:lvl1pPr>
              <a:defRPr lang="de-DE" sz="4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80000"/>
              </a:lnSpc>
              <a:buNone/>
            </a:pPr>
            <a:r>
              <a:rPr lang="de-DE" dirty="0"/>
              <a:t>SUBTITL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466C0FC-CAB3-4344-BDB4-EE734BE5290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0376" y="6272469"/>
            <a:ext cx="2073859" cy="3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650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 userDrawn="1"/>
        </p:nvGrpSpPr>
        <p:grpSpPr>
          <a:xfrm>
            <a:off x="-12138" y="0"/>
            <a:ext cx="12864360" cy="6858000"/>
            <a:chOff x="-12138" y="0"/>
            <a:chExt cx="12864360" cy="6858000"/>
          </a:xfrm>
        </p:grpSpPr>
        <p:sp>
          <p:nvSpPr>
            <p:cNvPr id="30" name="Rechteck 29"/>
            <p:cNvSpPr/>
            <p:nvPr userDrawn="1"/>
          </p:nvSpPr>
          <p:spPr>
            <a:xfrm>
              <a:off x="-12138" y="0"/>
              <a:ext cx="12202556" cy="68580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ptos" panose="020B0004020202020204" pitchFamily="34" charset="0"/>
              </a:endParaRPr>
            </a:p>
          </p:txBody>
        </p:sp>
        <p:grpSp>
          <p:nvGrpSpPr>
            <p:cNvPr id="23" name="Gruppieren 22"/>
            <p:cNvGrpSpPr/>
            <p:nvPr userDrawn="1"/>
          </p:nvGrpSpPr>
          <p:grpSpPr>
            <a:xfrm>
              <a:off x="-12138" y="0"/>
              <a:ext cx="12864360" cy="6858000"/>
              <a:chOff x="0" y="0"/>
              <a:chExt cx="12864360" cy="6858000"/>
            </a:xfrm>
          </p:grpSpPr>
          <p:grpSp>
            <p:nvGrpSpPr>
              <p:cNvPr id="24" name="Gruppieren 23"/>
              <p:cNvGrpSpPr/>
              <p:nvPr userDrawn="1"/>
            </p:nvGrpSpPr>
            <p:grpSpPr>
              <a:xfrm rot="20232963">
                <a:off x="115147" y="2823987"/>
                <a:ext cx="12749213" cy="3163887"/>
                <a:chOff x="-276225" y="3046413"/>
                <a:chExt cx="12749213" cy="3163887"/>
              </a:xfrm>
              <a:solidFill>
                <a:schemeClr val="bg1"/>
              </a:solidFill>
            </p:grpSpPr>
            <p:sp>
              <p:nvSpPr>
                <p:cNvPr id="26" name="Oval 6"/>
                <p:cNvSpPr>
                  <a:spLocks noChangeArrowheads="1"/>
                </p:cNvSpPr>
                <p:nvPr userDrawn="1"/>
              </p:nvSpPr>
              <p:spPr bwMode="auto">
                <a:xfrm>
                  <a:off x="5694363" y="4705350"/>
                  <a:ext cx="782638" cy="78105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>
                    <a:latin typeface="Aptos" panose="020B0004020202020204" pitchFamily="34" charset="0"/>
                  </a:endParaRPr>
                </a:p>
              </p:txBody>
            </p:sp>
            <p:sp>
              <p:nvSpPr>
                <p:cNvPr id="27" name="Freeform 7"/>
                <p:cNvSpPr>
                  <a:spLocks noEditPoints="1"/>
                </p:cNvSpPr>
                <p:nvPr userDrawn="1"/>
              </p:nvSpPr>
              <p:spPr bwMode="auto">
                <a:xfrm>
                  <a:off x="-276225" y="3046413"/>
                  <a:ext cx="12749213" cy="3163887"/>
                </a:xfrm>
                <a:custGeom>
                  <a:avLst/>
                  <a:gdLst>
                    <a:gd name="T0" fmla="*/ 3618 w 4014"/>
                    <a:gd name="T1" fmla="*/ 28 h 996"/>
                    <a:gd name="T2" fmla="*/ 3397 w 4014"/>
                    <a:gd name="T3" fmla="*/ 411 h 996"/>
                    <a:gd name="T4" fmla="*/ 2836 w 4014"/>
                    <a:gd name="T5" fmla="*/ 365 h 996"/>
                    <a:gd name="T6" fmla="*/ 2841 w 4014"/>
                    <a:gd name="T7" fmla="*/ 65 h 996"/>
                    <a:gd name="T8" fmla="*/ 2685 w 4014"/>
                    <a:gd name="T9" fmla="*/ 168 h 996"/>
                    <a:gd name="T10" fmla="*/ 2523 w 4014"/>
                    <a:gd name="T11" fmla="*/ 134 h 996"/>
                    <a:gd name="T12" fmla="*/ 2553 w 4014"/>
                    <a:gd name="T13" fmla="*/ 407 h 996"/>
                    <a:gd name="T14" fmla="*/ 1431 w 4014"/>
                    <a:gd name="T15" fmla="*/ 508 h 996"/>
                    <a:gd name="T16" fmla="*/ 1378 w 4014"/>
                    <a:gd name="T17" fmla="*/ 180 h 996"/>
                    <a:gd name="T18" fmla="*/ 1149 w 4014"/>
                    <a:gd name="T19" fmla="*/ 430 h 996"/>
                    <a:gd name="T20" fmla="*/ 794 w 4014"/>
                    <a:gd name="T21" fmla="*/ 80 h 996"/>
                    <a:gd name="T22" fmla="*/ 780 w 4014"/>
                    <a:gd name="T23" fmla="*/ 87 h 996"/>
                    <a:gd name="T24" fmla="*/ 706 w 4014"/>
                    <a:gd name="T25" fmla="*/ 344 h 996"/>
                    <a:gd name="T26" fmla="*/ 231 w 4014"/>
                    <a:gd name="T27" fmla="*/ 199 h 996"/>
                    <a:gd name="T28" fmla="*/ 84 w 4014"/>
                    <a:gd name="T29" fmla="*/ 207 h 996"/>
                    <a:gd name="T30" fmla="*/ 230 w 4014"/>
                    <a:gd name="T31" fmla="*/ 516 h 996"/>
                    <a:gd name="T32" fmla="*/ 244 w 4014"/>
                    <a:gd name="T33" fmla="*/ 523 h 996"/>
                    <a:gd name="T34" fmla="*/ 653 w 4014"/>
                    <a:gd name="T35" fmla="*/ 397 h 996"/>
                    <a:gd name="T36" fmla="*/ 902 w 4014"/>
                    <a:gd name="T37" fmla="*/ 346 h 996"/>
                    <a:gd name="T38" fmla="*/ 1068 w 4014"/>
                    <a:gd name="T39" fmla="*/ 567 h 996"/>
                    <a:gd name="T40" fmla="*/ 1073 w 4014"/>
                    <a:gd name="T41" fmla="*/ 583 h 996"/>
                    <a:gd name="T42" fmla="*/ 1341 w 4014"/>
                    <a:gd name="T43" fmla="*/ 711 h 996"/>
                    <a:gd name="T44" fmla="*/ 1353 w 4014"/>
                    <a:gd name="T45" fmla="*/ 641 h 996"/>
                    <a:gd name="T46" fmla="*/ 2350 w 4014"/>
                    <a:gd name="T47" fmla="*/ 651 h 996"/>
                    <a:gd name="T48" fmla="*/ 2757 w 4014"/>
                    <a:gd name="T49" fmla="*/ 535 h 996"/>
                    <a:gd name="T50" fmla="*/ 2773 w 4014"/>
                    <a:gd name="T51" fmla="*/ 530 h 996"/>
                    <a:gd name="T52" fmla="*/ 3085 w 4014"/>
                    <a:gd name="T53" fmla="*/ 622 h 996"/>
                    <a:gd name="T54" fmla="*/ 3065 w 4014"/>
                    <a:gd name="T55" fmla="*/ 833 h 996"/>
                    <a:gd name="T56" fmla="*/ 3459 w 4014"/>
                    <a:gd name="T57" fmla="*/ 656 h 996"/>
                    <a:gd name="T58" fmla="*/ 3464 w 4014"/>
                    <a:gd name="T59" fmla="*/ 641 h 996"/>
                    <a:gd name="T60" fmla="*/ 3442 w 4014"/>
                    <a:gd name="T61" fmla="*/ 456 h 996"/>
                    <a:gd name="T62" fmla="*/ 3726 w 4014"/>
                    <a:gd name="T63" fmla="*/ 244 h 996"/>
                    <a:gd name="T64" fmla="*/ 3930 w 4014"/>
                    <a:gd name="T65" fmla="*/ 287 h 996"/>
                    <a:gd name="T66" fmla="*/ 2796 w 4014"/>
                    <a:gd name="T67" fmla="*/ 42 h 996"/>
                    <a:gd name="T68" fmla="*/ 2536 w 4014"/>
                    <a:gd name="T69" fmla="*/ 134 h 996"/>
                    <a:gd name="T70" fmla="*/ 1378 w 4014"/>
                    <a:gd name="T71" fmla="*/ 202 h 996"/>
                    <a:gd name="T72" fmla="*/ 744 w 4014"/>
                    <a:gd name="T73" fmla="*/ 45 h 996"/>
                    <a:gd name="T74" fmla="*/ 84 w 4014"/>
                    <a:gd name="T75" fmla="*/ 166 h 996"/>
                    <a:gd name="T76" fmla="*/ 214 w 4014"/>
                    <a:gd name="T77" fmla="*/ 593 h 996"/>
                    <a:gd name="T78" fmla="*/ 388 w 4014"/>
                    <a:gd name="T79" fmla="*/ 385 h 996"/>
                    <a:gd name="T80" fmla="*/ 706 w 4014"/>
                    <a:gd name="T81" fmla="*/ 423 h 996"/>
                    <a:gd name="T82" fmla="*/ 902 w 4014"/>
                    <a:gd name="T83" fmla="*/ 298 h 996"/>
                    <a:gd name="T84" fmla="*/ 1028 w 4014"/>
                    <a:gd name="T85" fmla="*/ 611 h 996"/>
                    <a:gd name="T86" fmla="*/ 1408 w 4014"/>
                    <a:gd name="T87" fmla="*/ 711 h 996"/>
                    <a:gd name="T88" fmla="*/ 1279 w 4014"/>
                    <a:gd name="T89" fmla="*/ 595 h 996"/>
                    <a:gd name="T90" fmla="*/ 2005 w 4014"/>
                    <a:gd name="T91" fmla="*/ 866 h 996"/>
                    <a:gd name="T92" fmla="*/ 2835 w 4014"/>
                    <a:gd name="T93" fmla="*/ 611 h 996"/>
                    <a:gd name="T94" fmla="*/ 2685 w 4014"/>
                    <a:gd name="T95" fmla="*/ 413 h 996"/>
                    <a:gd name="T96" fmla="*/ 3020 w 4014"/>
                    <a:gd name="T97" fmla="*/ 855 h 996"/>
                    <a:gd name="T98" fmla="*/ 3147 w 4014"/>
                    <a:gd name="T99" fmla="*/ 564 h 996"/>
                    <a:gd name="T100" fmla="*/ 3540 w 4014"/>
                    <a:gd name="T101" fmla="*/ 633 h 996"/>
                    <a:gd name="T102" fmla="*/ 3442 w 4014"/>
                    <a:gd name="T103" fmla="*/ 433 h 996"/>
                    <a:gd name="T104" fmla="*/ 3618 w 4014"/>
                    <a:gd name="T105" fmla="*/ 240 h 996"/>
                    <a:gd name="T106" fmla="*/ 3930 w 4014"/>
                    <a:gd name="T107" fmla="*/ 414 h 9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014" h="996">
                      <a:moveTo>
                        <a:pt x="3930" y="287"/>
                      </a:moveTo>
                      <a:cubicBezTo>
                        <a:pt x="3903" y="287"/>
                        <a:pt x="3880" y="300"/>
                        <a:pt x="3864" y="320"/>
                      </a:cubicBezTo>
                      <a:cubicBezTo>
                        <a:pt x="3735" y="231"/>
                        <a:pt x="3735" y="231"/>
                        <a:pt x="3735" y="231"/>
                      </a:cubicBezTo>
                      <a:cubicBezTo>
                        <a:pt x="3747" y="211"/>
                        <a:pt x="3753" y="188"/>
                        <a:pt x="3753" y="163"/>
                      </a:cubicBezTo>
                      <a:cubicBezTo>
                        <a:pt x="3753" y="88"/>
                        <a:pt x="3693" y="28"/>
                        <a:pt x="3618" y="28"/>
                      </a:cubicBezTo>
                      <a:cubicBezTo>
                        <a:pt x="3544" y="28"/>
                        <a:pt x="3483" y="88"/>
                        <a:pt x="3483" y="163"/>
                      </a:cubicBezTo>
                      <a:cubicBezTo>
                        <a:pt x="3483" y="207"/>
                        <a:pt x="3505" y="247"/>
                        <a:pt x="3538" y="272"/>
                      </a:cubicBezTo>
                      <a:cubicBezTo>
                        <a:pt x="3464" y="372"/>
                        <a:pt x="3464" y="372"/>
                        <a:pt x="3464" y="372"/>
                      </a:cubicBezTo>
                      <a:cubicBezTo>
                        <a:pt x="3458" y="368"/>
                        <a:pt x="3450" y="366"/>
                        <a:pt x="3442" y="366"/>
                      </a:cubicBezTo>
                      <a:cubicBezTo>
                        <a:pt x="3417" y="366"/>
                        <a:pt x="3397" y="386"/>
                        <a:pt x="3397" y="411"/>
                      </a:cubicBezTo>
                      <a:cubicBezTo>
                        <a:pt x="3397" y="412"/>
                        <a:pt x="3397" y="412"/>
                        <a:pt x="3397" y="413"/>
                      </a:cubicBezTo>
                      <a:cubicBezTo>
                        <a:pt x="3304" y="424"/>
                        <a:pt x="3304" y="424"/>
                        <a:pt x="3304" y="424"/>
                      </a:cubicBezTo>
                      <a:cubicBezTo>
                        <a:pt x="3284" y="357"/>
                        <a:pt x="3221" y="307"/>
                        <a:pt x="3147" y="307"/>
                      </a:cubicBezTo>
                      <a:cubicBezTo>
                        <a:pt x="3077" y="307"/>
                        <a:pt x="3017" y="351"/>
                        <a:pt x="2994" y="414"/>
                      </a:cubicBezTo>
                      <a:cubicBezTo>
                        <a:pt x="2836" y="365"/>
                        <a:pt x="2836" y="365"/>
                        <a:pt x="2836" y="365"/>
                      </a:cubicBezTo>
                      <a:cubicBezTo>
                        <a:pt x="2839" y="352"/>
                        <a:pt x="2841" y="338"/>
                        <a:pt x="2841" y="324"/>
                      </a:cubicBezTo>
                      <a:cubicBezTo>
                        <a:pt x="2841" y="263"/>
                        <a:pt x="2807" y="211"/>
                        <a:pt x="2757" y="185"/>
                      </a:cubicBezTo>
                      <a:cubicBezTo>
                        <a:pt x="2787" y="109"/>
                        <a:pt x="2787" y="109"/>
                        <a:pt x="2787" y="109"/>
                      </a:cubicBezTo>
                      <a:cubicBezTo>
                        <a:pt x="2790" y="109"/>
                        <a:pt x="2793" y="110"/>
                        <a:pt x="2796" y="110"/>
                      </a:cubicBezTo>
                      <a:cubicBezTo>
                        <a:pt x="2821" y="110"/>
                        <a:pt x="2841" y="89"/>
                        <a:pt x="2841" y="65"/>
                      </a:cubicBezTo>
                      <a:cubicBezTo>
                        <a:pt x="2841" y="40"/>
                        <a:pt x="2821" y="20"/>
                        <a:pt x="2796" y="20"/>
                      </a:cubicBezTo>
                      <a:cubicBezTo>
                        <a:pt x="2771" y="20"/>
                        <a:pt x="2751" y="40"/>
                        <a:pt x="2751" y="65"/>
                      </a:cubicBezTo>
                      <a:cubicBezTo>
                        <a:pt x="2751" y="81"/>
                        <a:pt x="2760" y="95"/>
                        <a:pt x="2772" y="103"/>
                      </a:cubicBezTo>
                      <a:cubicBezTo>
                        <a:pt x="2742" y="179"/>
                        <a:pt x="2742" y="179"/>
                        <a:pt x="2742" y="179"/>
                      </a:cubicBezTo>
                      <a:cubicBezTo>
                        <a:pt x="2724" y="172"/>
                        <a:pt x="2705" y="168"/>
                        <a:pt x="2685" y="168"/>
                      </a:cubicBezTo>
                      <a:cubicBezTo>
                        <a:pt x="2658" y="168"/>
                        <a:pt x="2632" y="175"/>
                        <a:pt x="2609" y="188"/>
                      </a:cubicBezTo>
                      <a:cubicBezTo>
                        <a:pt x="2575" y="151"/>
                        <a:pt x="2575" y="151"/>
                        <a:pt x="2575" y="151"/>
                      </a:cubicBezTo>
                      <a:cubicBezTo>
                        <a:pt x="2579" y="146"/>
                        <a:pt x="2581" y="140"/>
                        <a:pt x="2581" y="134"/>
                      </a:cubicBezTo>
                      <a:cubicBezTo>
                        <a:pt x="2581" y="118"/>
                        <a:pt x="2568" y="105"/>
                        <a:pt x="2552" y="105"/>
                      </a:cubicBezTo>
                      <a:cubicBezTo>
                        <a:pt x="2536" y="105"/>
                        <a:pt x="2523" y="118"/>
                        <a:pt x="2523" y="134"/>
                      </a:cubicBezTo>
                      <a:cubicBezTo>
                        <a:pt x="2523" y="150"/>
                        <a:pt x="2536" y="163"/>
                        <a:pt x="2552" y="163"/>
                      </a:cubicBezTo>
                      <a:cubicBezTo>
                        <a:pt x="2556" y="163"/>
                        <a:pt x="2559" y="162"/>
                        <a:pt x="2563" y="161"/>
                      </a:cubicBezTo>
                      <a:cubicBezTo>
                        <a:pt x="2595" y="196"/>
                        <a:pt x="2595" y="196"/>
                        <a:pt x="2595" y="196"/>
                      </a:cubicBezTo>
                      <a:cubicBezTo>
                        <a:pt x="2555" y="225"/>
                        <a:pt x="2529" y="271"/>
                        <a:pt x="2529" y="324"/>
                      </a:cubicBezTo>
                      <a:cubicBezTo>
                        <a:pt x="2529" y="354"/>
                        <a:pt x="2538" y="383"/>
                        <a:pt x="2553" y="407"/>
                      </a:cubicBezTo>
                      <a:cubicBezTo>
                        <a:pt x="2334" y="546"/>
                        <a:pt x="2334" y="546"/>
                        <a:pt x="2334" y="546"/>
                      </a:cubicBezTo>
                      <a:cubicBezTo>
                        <a:pt x="2290" y="407"/>
                        <a:pt x="2159" y="306"/>
                        <a:pt x="2005" y="306"/>
                      </a:cubicBezTo>
                      <a:cubicBezTo>
                        <a:pt x="1840" y="306"/>
                        <a:pt x="1702" y="422"/>
                        <a:pt x="1668" y="577"/>
                      </a:cubicBezTo>
                      <a:cubicBezTo>
                        <a:pt x="1429" y="537"/>
                        <a:pt x="1429" y="537"/>
                        <a:pt x="1429" y="537"/>
                      </a:cubicBezTo>
                      <a:cubicBezTo>
                        <a:pt x="1430" y="527"/>
                        <a:pt x="1431" y="518"/>
                        <a:pt x="1431" y="508"/>
                      </a:cubicBezTo>
                      <a:cubicBezTo>
                        <a:pt x="1431" y="442"/>
                        <a:pt x="1390" y="386"/>
                        <a:pt x="1331" y="365"/>
                      </a:cubicBezTo>
                      <a:cubicBezTo>
                        <a:pt x="1374" y="269"/>
                        <a:pt x="1374" y="269"/>
                        <a:pt x="1374" y="269"/>
                      </a:cubicBezTo>
                      <a:cubicBezTo>
                        <a:pt x="1375" y="270"/>
                        <a:pt x="1377" y="270"/>
                        <a:pt x="1378" y="270"/>
                      </a:cubicBezTo>
                      <a:cubicBezTo>
                        <a:pt x="1403" y="270"/>
                        <a:pt x="1423" y="249"/>
                        <a:pt x="1423" y="225"/>
                      </a:cubicBezTo>
                      <a:cubicBezTo>
                        <a:pt x="1423" y="200"/>
                        <a:pt x="1403" y="180"/>
                        <a:pt x="1378" y="180"/>
                      </a:cubicBezTo>
                      <a:cubicBezTo>
                        <a:pt x="1353" y="180"/>
                        <a:pt x="1333" y="200"/>
                        <a:pt x="1333" y="225"/>
                      </a:cubicBezTo>
                      <a:cubicBezTo>
                        <a:pt x="1333" y="242"/>
                        <a:pt x="1343" y="258"/>
                        <a:pt x="1358" y="265"/>
                      </a:cubicBezTo>
                      <a:cubicBezTo>
                        <a:pt x="1316" y="360"/>
                        <a:pt x="1316" y="360"/>
                        <a:pt x="1316" y="360"/>
                      </a:cubicBezTo>
                      <a:cubicBezTo>
                        <a:pt x="1304" y="358"/>
                        <a:pt x="1292" y="356"/>
                        <a:pt x="1279" y="356"/>
                      </a:cubicBezTo>
                      <a:cubicBezTo>
                        <a:pt x="1224" y="356"/>
                        <a:pt x="1176" y="385"/>
                        <a:pt x="1149" y="430"/>
                      </a:cubicBezTo>
                      <a:cubicBezTo>
                        <a:pt x="994" y="297"/>
                        <a:pt x="994" y="297"/>
                        <a:pt x="994" y="297"/>
                      </a:cubicBezTo>
                      <a:cubicBezTo>
                        <a:pt x="1006" y="280"/>
                        <a:pt x="1013" y="258"/>
                        <a:pt x="1013" y="235"/>
                      </a:cubicBezTo>
                      <a:cubicBezTo>
                        <a:pt x="1013" y="174"/>
                        <a:pt x="964" y="124"/>
                        <a:pt x="902" y="124"/>
                      </a:cubicBezTo>
                      <a:cubicBezTo>
                        <a:pt x="879" y="124"/>
                        <a:pt x="858" y="131"/>
                        <a:pt x="840" y="143"/>
                      </a:cubicBezTo>
                      <a:cubicBezTo>
                        <a:pt x="794" y="80"/>
                        <a:pt x="794" y="80"/>
                        <a:pt x="794" y="80"/>
                      </a:cubicBezTo>
                      <a:cubicBezTo>
                        <a:pt x="804" y="72"/>
                        <a:pt x="811" y="59"/>
                        <a:pt x="811" y="45"/>
                      </a:cubicBezTo>
                      <a:cubicBezTo>
                        <a:pt x="811" y="20"/>
                        <a:pt x="791" y="0"/>
                        <a:pt x="766" y="0"/>
                      </a:cubicBezTo>
                      <a:cubicBezTo>
                        <a:pt x="741" y="0"/>
                        <a:pt x="721" y="20"/>
                        <a:pt x="721" y="45"/>
                      </a:cubicBezTo>
                      <a:cubicBezTo>
                        <a:pt x="721" y="69"/>
                        <a:pt x="741" y="90"/>
                        <a:pt x="766" y="90"/>
                      </a:cubicBezTo>
                      <a:cubicBezTo>
                        <a:pt x="771" y="90"/>
                        <a:pt x="775" y="89"/>
                        <a:pt x="780" y="87"/>
                      </a:cubicBezTo>
                      <a:cubicBezTo>
                        <a:pt x="827" y="153"/>
                        <a:pt x="827" y="153"/>
                        <a:pt x="827" y="153"/>
                      </a:cubicBezTo>
                      <a:cubicBezTo>
                        <a:pt x="805" y="173"/>
                        <a:pt x="791" y="203"/>
                        <a:pt x="791" y="235"/>
                      </a:cubicBezTo>
                      <a:cubicBezTo>
                        <a:pt x="791" y="256"/>
                        <a:pt x="797" y="276"/>
                        <a:pt x="808" y="293"/>
                      </a:cubicBezTo>
                      <a:cubicBezTo>
                        <a:pt x="741" y="357"/>
                        <a:pt x="741" y="357"/>
                        <a:pt x="741" y="357"/>
                      </a:cubicBezTo>
                      <a:cubicBezTo>
                        <a:pt x="732" y="349"/>
                        <a:pt x="719" y="344"/>
                        <a:pt x="706" y="344"/>
                      </a:cubicBezTo>
                      <a:cubicBezTo>
                        <a:pt x="686" y="344"/>
                        <a:pt x="669" y="355"/>
                        <a:pt x="660" y="371"/>
                      </a:cubicBezTo>
                      <a:cubicBezTo>
                        <a:pt x="564" y="325"/>
                        <a:pt x="564" y="325"/>
                        <a:pt x="564" y="325"/>
                      </a:cubicBezTo>
                      <a:cubicBezTo>
                        <a:pt x="567" y="312"/>
                        <a:pt x="569" y="298"/>
                        <a:pt x="569" y="285"/>
                      </a:cubicBezTo>
                      <a:cubicBezTo>
                        <a:pt x="569" y="188"/>
                        <a:pt x="488" y="109"/>
                        <a:pt x="388" y="109"/>
                      </a:cubicBezTo>
                      <a:cubicBezTo>
                        <a:pt x="320" y="109"/>
                        <a:pt x="261" y="146"/>
                        <a:pt x="231" y="199"/>
                      </a:cubicBezTo>
                      <a:cubicBezTo>
                        <a:pt x="162" y="155"/>
                        <a:pt x="162" y="155"/>
                        <a:pt x="162" y="155"/>
                      </a:cubicBezTo>
                      <a:cubicBezTo>
                        <a:pt x="166" y="145"/>
                        <a:pt x="168" y="135"/>
                        <a:pt x="168" y="123"/>
                      </a:cubicBezTo>
                      <a:cubicBezTo>
                        <a:pt x="168" y="77"/>
                        <a:pt x="131" y="39"/>
                        <a:pt x="84" y="39"/>
                      </a:cubicBezTo>
                      <a:cubicBezTo>
                        <a:pt x="38" y="39"/>
                        <a:pt x="0" y="77"/>
                        <a:pt x="0" y="123"/>
                      </a:cubicBezTo>
                      <a:cubicBezTo>
                        <a:pt x="0" y="170"/>
                        <a:pt x="38" y="207"/>
                        <a:pt x="84" y="207"/>
                      </a:cubicBezTo>
                      <a:cubicBezTo>
                        <a:pt x="114" y="207"/>
                        <a:pt x="139" y="192"/>
                        <a:pt x="154" y="170"/>
                      </a:cubicBezTo>
                      <a:cubicBezTo>
                        <a:pt x="223" y="214"/>
                        <a:pt x="223" y="214"/>
                        <a:pt x="223" y="214"/>
                      </a:cubicBezTo>
                      <a:cubicBezTo>
                        <a:pt x="213" y="235"/>
                        <a:pt x="208" y="259"/>
                        <a:pt x="208" y="285"/>
                      </a:cubicBezTo>
                      <a:cubicBezTo>
                        <a:pt x="208" y="344"/>
                        <a:pt x="239" y="397"/>
                        <a:pt x="286" y="429"/>
                      </a:cubicBezTo>
                      <a:cubicBezTo>
                        <a:pt x="230" y="516"/>
                        <a:pt x="230" y="516"/>
                        <a:pt x="230" y="516"/>
                      </a:cubicBezTo>
                      <a:cubicBezTo>
                        <a:pt x="225" y="514"/>
                        <a:pt x="220" y="514"/>
                        <a:pt x="214" y="514"/>
                      </a:cubicBezTo>
                      <a:cubicBezTo>
                        <a:pt x="185" y="514"/>
                        <a:pt x="161" y="537"/>
                        <a:pt x="161" y="567"/>
                      </a:cubicBezTo>
                      <a:cubicBezTo>
                        <a:pt x="161" y="596"/>
                        <a:pt x="185" y="620"/>
                        <a:pt x="214" y="620"/>
                      </a:cubicBezTo>
                      <a:cubicBezTo>
                        <a:pt x="243" y="620"/>
                        <a:pt x="267" y="596"/>
                        <a:pt x="267" y="567"/>
                      </a:cubicBezTo>
                      <a:cubicBezTo>
                        <a:pt x="267" y="549"/>
                        <a:pt x="258" y="533"/>
                        <a:pt x="244" y="523"/>
                      </a:cubicBezTo>
                      <a:cubicBezTo>
                        <a:pt x="300" y="437"/>
                        <a:pt x="300" y="437"/>
                        <a:pt x="300" y="437"/>
                      </a:cubicBezTo>
                      <a:cubicBezTo>
                        <a:pt x="326" y="452"/>
                        <a:pt x="356" y="460"/>
                        <a:pt x="388" y="460"/>
                      </a:cubicBezTo>
                      <a:cubicBezTo>
                        <a:pt x="468" y="460"/>
                        <a:pt x="535" y="410"/>
                        <a:pt x="559" y="340"/>
                      </a:cubicBezTo>
                      <a:cubicBezTo>
                        <a:pt x="654" y="386"/>
                        <a:pt x="654" y="386"/>
                        <a:pt x="654" y="386"/>
                      </a:cubicBezTo>
                      <a:cubicBezTo>
                        <a:pt x="653" y="389"/>
                        <a:pt x="653" y="393"/>
                        <a:pt x="653" y="397"/>
                      </a:cubicBezTo>
                      <a:cubicBezTo>
                        <a:pt x="653" y="426"/>
                        <a:pt x="677" y="450"/>
                        <a:pt x="706" y="450"/>
                      </a:cubicBezTo>
                      <a:cubicBezTo>
                        <a:pt x="735" y="450"/>
                        <a:pt x="759" y="426"/>
                        <a:pt x="759" y="397"/>
                      </a:cubicBezTo>
                      <a:cubicBezTo>
                        <a:pt x="759" y="387"/>
                        <a:pt x="756" y="377"/>
                        <a:pt x="751" y="369"/>
                      </a:cubicBezTo>
                      <a:cubicBezTo>
                        <a:pt x="817" y="306"/>
                        <a:pt x="817" y="306"/>
                        <a:pt x="817" y="306"/>
                      </a:cubicBezTo>
                      <a:cubicBezTo>
                        <a:pt x="838" y="331"/>
                        <a:pt x="868" y="346"/>
                        <a:pt x="902" y="346"/>
                      </a:cubicBezTo>
                      <a:cubicBezTo>
                        <a:pt x="935" y="346"/>
                        <a:pt x="964" y="332"/>
                        <a:pt x="984" y="310"/>
                      </a:cubicBezTo>
                      <a:cubicBezTo>
                        <a:pt x="1141" y="444"/>
                        <a:pt x="1141" y="444"/>
                        <a:pt x="1141" y="444"/>
                      </a:cubicBezTo>
                      <a:cubicBezTo>
                        <a:pt x="1132" y="463"/>
                        <a:pt x="1127" y="485"/>
                        <a:pt x="1127" y="508"/>
                      </a:cubicBezTo>
                      <a:cubicBezTo>
                        <a:pt x="1127" y="520"/>
                        <a:pt x="1129" y="532"/>
                        <a:pt x="1132" y="544"/>
                      </a:cubicBezTo>
                      <a:cubicBezTo>
                        <a:pt x="1068" y="567"/>
                        <a:pt x="1068" y="567"/>
                        <a:pt x="1068" y="567"/>
                      </a:cubicBezTo>
                      <a:cubicBezTo>
                        <a:pt x="1060" y="553"/>
                        <a:pt x="1045" y="544"/>
                        <a:pt x="1028" y="544"/>
                      </a:cubicBezTo>
                      <a:cubicBezTo>
                        <a:pt x="1003" y="544"/>
                        <a:pt x="983" y="564"/>
                        <a:pt x="983" y="589"/>
                      </a:cubicBezTo>
                      <a:cubicBezTo>
                        <a:pt x="983" y="613"/>
                        <a:pt x="1003" y="634"/>
                        <a:pt x="1028" y="634"/>
                      </a:cubicBezTo>
                      <a:cubicBezTo>
                        <a:pt x="1053" y="634"/>
                        <a:pt x="1073" y="613"/>
                        <a:pt x="1073" y="589"/>
                      </a:cubicBezTo>
                      <a:cubicBezTo>
                        <a:pt x="1073" y="587"/>
                        <a:pt x="1073" y="585"/>
                        <a:pt x="1073" y="583"/>
                      </a:cubicBezTo>
                      <a:cubicBezTo>
                        <a:pt x="1136" y="559"/>
                        <a:pt x="1136" y="559"/>
                        <a:pt x="1136" y="559"/>
                      </a:cubicBezTo>
                      <a:cubicBezTo>
                        <a:pt x="1157" y="618"/>
                        <a:pt x="1213" y="660"/>
                        <a:pt x="1279" y="660"/>
                      </a:cubicBezTo>
                      <a:cubicBezTo>
                        <a:pt x="1300" y="660"/>
                        <a:pt x="1320" y="656"/>
                        <a:pt x="1339" y="648"/>
                      </a:cubicBezTo>
                      <a:cubicBezTo>
                        <a:pt x="1356" y="677"/>
                        <a:pt x="1356" y="677"/>
                        <a:pt x="1356" y="677"/>
                      </a:cubicBezTo>
                      <a:cubicBezTo>
                        <a:pt x="1347" y="685"/>
                        <a:pt x="1341" y="697"/>
                        <a:pt x="1341" y="711"/>
                      </a:cubicBezTo>
                      <a:cubicBezTo>
                        <a:pt x="1341" y="735"/>
                        <a:pt x="1361" y="756"/>
                        <a:pt x="1386" y="756"/>
                      </a:cubicBezTo>
                      <a:cubicBezTo>
                        <a:pt x="1411" y="756"/>
                        <a:pt x="1431" y="735"/>
                        <a:pt x="1431" y="711"/>
                      </a:cubicBezTo>
                      <a:cubicBezTo>
                        <a:pt x="1431" y="686"/>
                        <a:pt x="1411" y="666"/>
                        <a:pt x="1386" y="666"/>
                      </a:cubicBezTo>
                      <a:cubicBezTo>
                        <a:pt x="1380" y="666"/>
                        <a:pt x="1375" y="667"/>
                        <a:pt x="1370" y="669"/>
                      </a:cubicBezTo>
                      <a:cubicBezTo>
                        <a:pt x="1353" y="641"/>
                        <a:pt x="1353" y="641"/>
                        <a:pt x="1353" y="641"/>
                      </a:cubicBezTo>
                      <a:cubicBezTo>
                        <a:pt x="1387" y="622"/>
                        <a:pt x="1413" y="590"/>
                        <a:pt x="1425" y="552"/>
                      </a:cubicBezTo>
                      <a:cubicBezTo>
                        <a:pt x="1665" y="592"/>
                        <a:pt x="1665" y="592"/>
                        <a:pt x="1665" y="592"/>
                      </a:cubicBezTo>
                      <a:cubicBezTo>
                        <a:pt x="1662" y="611"/>
                        <a:pt x="1660" y="631"/>
                        <a:pt x="1660" y="651"/>
                      </a:cubicBezTo>
                      <a:cubicBezTo>
                        <a:pt x="1660" y="841"/>
                        <a:pt x="1814" y="996"/>
                        <a:pt x="2005" y="996"/>
                      </a:cubicBezTo>
                      <a:cubicBezTo>
                        <a:pt x="2196" y="996"/>
                        <a:pt x="2350" y="841"/>
                        <a:pt x="2350" y="651"/>
                      </a:cubicBezTo>
                      <a:cubicBezTo>
                        <a:pt x="2350" y="620"/>
                        <a:pt x="2346" y="591"/>
                        <a:pt x="2338" y="562"/>
                      </a:cubicBezTo>
                      <a:cubicBezTo>
                        <a:pt x="2562" y="420"/>
                        <a:pt x="2562" y="420"/>
                        <a:pt x="2562" y="420"/>
                      </a:cubicBezTo>
                      <a:cubicBezTo>
                        <a:pt x="2591" y="456"/>
                        <a:pt x="2635" y="480"/>
                        <a:pt x="2685" y="480"/>
                      </a:cubicBezTo>
                      <a:cubicBezTo>
                        <a:pt x="2700" y="480"/>
                        <a:pt x="2715" y="478"/>
                        <a:pt x="2728" y="474"/>
                      </a:cubicBezTo>
                      <a:cubicBezTo>
                        <a:pt x="2757" y="535"/>
                        <a:pt x="2757" y="535"/>
                        <a:pt x="2757" y="535"/>
                      </a:cubicBezTo>
                      <a:cubicBezTo>
                        <a:pt x="2728" y="548"/>
                        <a:pt x="2708" y="577"/>
                        <a:pt x="2708" y="611"/>
                      </a:cubicBezTo>
                      <a:cubicBezTo>
                        <a:pt x="2708" y="658"/>
                        <a:pt x="2746" y="695"/>
                        <a:pt x="2792" y="695"/>
                      </a:cubicBezTo>
                      <a:cubicBezTo>
                        <a:pt x="2839" y="695"/>
                        <a:pt x="2876" y="658"/>
                        <a:pt x="2876" y="611"/>
                      </a:cubicBezTo>
                      <a:cubicBezTo>
                        <a:pt x="2876" y="565"/>
                        <a:pt x="2839" y="527"/>
                        <a:pt x="2792" y="527"/>
                      </a:cubicBezTo>
                      <a:cubicBezTo>
                        <a:pt x="2786" y="527"/>
                        <a:pt x="2779" y="528"/>
                        <a:pt x="2773" y="530"/>
                      </a:cubicBezTo>
                      <a:cubicBezTo>
                        <a:pt x="2743" y="469"/>
                        <a:pt x="2743" y="469"/>
                        <a:pt x="2743" y="469"/>
                      </a:cubicBezTo>
                      <a:cubicBezTo>
                        <a:pt x="2783" y="453"/>
                        <a:pt x="2815" y="420"/>
                        <a:pt x="2831" y="380"/>
                      </a:cubicBezTo>
                      <a:cubicBezTo>
                        <a:pt x="2989" y="429"/>
                        <a:pt x="2989" y="429"/>
                        <a:pt x="2989" y="429"/>
                      </a:cubicBezTo>
                      <a:cubicBezTo>
                        <a:pt x="2986" y="442"/>
                        <a:pt x="2984" y="456"/>
                        <a:pt x="2984" y="471"/>
                      </a:cubicBezTo>
                      <a:cubicBezTo>
                        <a:pt x="2984" y="539"/>
                        <a:pt x="3026" y="597"/>
                        <a:pt x="3085" y="622"/>
                      </a:cubicBezTo>
                      <a:cubicBezTo>
                        <a:pt x="3029" y="789"/>
                        <a:pt x="3029" y="789"/>
                        <a:pt x="3029" y="789"/>
                      </a:cubicBezTo>
                      <a:cubicBezTo>
                        <a:pt x="3026" y="788"/>
                        <a:pt x="3023" y="788"/>
                        <a:pt x="3020" y="788"/>
                      </a:cubicBezTo>
                      <a:cubicBezTo>
                        <a:pt x="2995" y="788"/>
                        <a:pt x="2975" y="808"/>
                        <a:pt x="2975" y="833"/>
                      </a:cubicBezTo>
                      <a:cubicBezTo>
                        <a:pt x="2975" y="857"/>
                        <a:pt x="2995" y="878"/>
                        <a:pt x="3020" y="878"/>
                      </a:cubicBezTo>
                      <a:cubicBezTo>
                        <a:pt x="3045" y="878"/>
                        <a:pt x="3065" y="857"/>
                        <a:pt x="3065" y="833"/>
                      </a:cubicBezTo>
                      <a:cubicBezTo>
                        <a:pt x="3065" y="817"/>
                        <a:pt x="3057" y="803"/>
                        <a:pt x="3044" y="795"/>
                      </a:cubicBezTo>
                      <a:cubicBezTo>
                        <a:pt x="3100" y="627"/>
                        <a:pt x="3100" y="627"/>
                        <a:pt x="3100" y="627"/>
                      </a:cubicBezTo>
                      <a:cubicBezTo>
                        <a:pt x="3115" y="631"/>
                        <a:pt x="3131" y="634"/>
                        <a:pt x="3147" y="634"/>
                      </a:cubicBezTo>
                      <a:cubicBezTo>
                        <a:pt x="3198" y="634"/>
                        <a:pt x="3243" y="611"/>
                        <a:pt x="3273" y="575"/>
                      </a:cubicBezTo>
                      <a:cubicBezTo>
                        <a:pt x="3459" y="656"/>
                        <a:pt x="3459" y="656"/>
                        <a:pt x="3459" y="656"/>
                      </a:cubicBezTo>
                      <a:cubicBezTo>
                        <a:pt x="3457" y="662"/>
                        <a:pt x="3456" y="669"/>
                        <a:pt x="3456" y="675"/>
                      </a:cubicBezTo>
                      <a:cubicBezTo>
                        <a:pt x="3456" y="722"/>
                        <a:pt x="3494" y="759"/>
                        <a:pt x="3540" y="759"/>
                      </a:cubicBezTo>
                      <a:cubicBezTo>
                        <a:pt x="3587" y="759"/>
                        <a:pt x="3624" y="722"/>
                        <a:pt x="3624" y="675"/>
                      </a:cubicBezTo>
                      <a:cubicBezTo>
                        <a:pt x="3624" y="629"/>
                        <a:pt x="3587" y="591"/>
                        <a:pt x="3540" y="591"/>
                      </a:cubicBezTo>
                      <a:cubicBezTo>
                        <a:pt x="3506" y="591"/>
                        <a:pt x="3477" y="612"/>
                        <a:pt x="3464" y="641"/>
                      </a:cubicBezTo>
                      <a:cubicBezTo>
                        <a:pt x="3283" y="562"/>
                        <a:pt x="3283" y="562"/>
                        <a:pt x="3283" y="562"/>
                      </a:cubicBezTo>
                      <a:cubicBezTo>
                        <a:pt x="3300" y="536"/>
                        <a:pt x="3311" y="504"/>
                        <a:pt x="3311" y="471"/>
                      </a:cubicBezTo>
                      <a:cubicBezTo>
                        <a:pt x="3311" y="460"/>
                        <a:pt x="3310" y="450"/>
                        <a:pt x="3308" y="440"/>
                      </a:cubicBezTo>
                      <a:cubicBezTo>
                        <a:pt x="3401" y="429"/>
                        <a:pt x="3401" y="429"/>
                        <a:pt x="3401" y="429"/>
                      </a:cubicBezTo>
                      <a:cubicBezTo>
                        <a:pt x="3408" y="445"/>
                        <a:pt x="3424" y="456"/>
                        <a:pt x="3442" y="456"/>
                      </a:cubicBezTo>
                      <a:cubicBezTo>
                        <a:pt x="3467" y="456"/>
                        <a:pt x="3487" y="435"/>
                        <a:pt x="3487" y="411"/>
                      </a:cubicBezTo>
                      <a:cubicBezTo>
                        <a:pt x="3487" y="400"/>
                        <a:pt x="3483" y="390"/>
                        <a:pt x="3477" y="382"/>
                      </a:cubicBezTo>
                      <a:cubicBezTo>
                        <a:pt x="3551" y="280"/>
                        <a:pt x="3551" y="280"/>
                        <a:pt x="3551" y="280"/>
                      </a:cubicBezTo>
                      <a:cubicBezTo>
                        <a:pt x="3571" y="291"/>
                        <a:pt x="3594" y="298"/>
                        <a:pt x="3618" y="298"/>
                      </a:cubicBezTo>
                      <a:cubicBezTo>
                        <a:pt x="3662" y="298"/>
                        <a:pt x="3702" y="277"/>
                        <a:pt x="3726" y="244"/>
                      </a:cubicBezTo>
                      <a:cubicBezTo>
                        <a:pt x="3856" y="333"/>
                        <a:pt x="3856" y="333"/>
                        <a:pt x="3856" y="333"/>
                      </a:cubicBezTo>
                      <a:cubicBezTo>
                        <a:pt x="3850" y="344"/>
                        <a:pt x="3846" y="357"/>
                        <a:pt x="3846" y="371"/>
                      </a:cubicBezTo>
                      <a:cubicBezTo>
                        <a:pt x="3846" y="418"/>
                        <a:pt x="3884" y="455"/>
                        <a:pt x="3930" y="455"/>
                      </a:cubicBezTo>
                      <a:cubicBezTo>
                        <a:pt x="3977" y="455"/>
                        <a:pt x="4014" y="418"/>
                        <a:pt x="4014" y="371"/>
                      </a:cubicBezTo>
                      <a:cubicBezTo>
                        <a:pt x="4014" y="325"/>
                        <a:pt x="3977" y="287"/>
                        <a:pt x="3930" y="287"/>
                      </a:cubicBezTo>
                      <a:close/>
                      <a:moveTo>
                        <a:pt x="2796" y="42"/>
                      </a:moveTo>
                      <a:cubicBezTo>
                        <a:pt x="2808" y="42"/>
                        <a:pt x="2818" y="52"/>
                        <a:pt x="2818" y="65"/>
                      </a:cubicBezTo>
                      <a:cubicBezTo>
                        <a:pt x="2818" y="77"/>
                        <a:pt x="2808" y="87"/>
                        <a:pt x="2796" y="87"/>
                      </a:cubicBezTo>
                      <a:cubicBezTo>
                        <a:pt x="2784" y="87"/>
                        <a:pt x="2774" y="77"/>
                        <a:pt x="2774" y="65"/>
                      </a:cubicBezTo>
                      <a:cubicBezTo>
                        <a:pt x="2774" y="52"/>
                        <a:pt x="2784" y="42"/>
                        <a:pt x="2796" y="42"/>
                      </a:cubicBezTo>
                      <a:close/>
                      <a:moveTo>
                        <a:pt x="2536" y="134"/>
                      </a:moveTo>
                      <a:cubicBezTo>
                        <a:pt x="2536" y="125"/>
                        <a:pt x="2543" y="118"/>
                        <a:pt x="2552" y="118"/>
                      </a:cubicBezTo>
                      <a:cubicBezTo>
                        <a:pt x="2561" y="118"/>
                        <a:pt x="2569" y="125"/>
                        <a:pt x="2569" y="134"/>
                      </a:cubicBezTo>
                      <a:cubicBezTo>
                        <a:pt x="2569" y="143"/>
                        <a:pt x="2561" y="150"/>
                        <a:pt x="2552" y="150"/>
                      </a:cubicBezTo>
                      <a:cubicBezTo>
                        <a:pt x="2543" y="150"/>
                        <a:pt x="2536" y="143"/>
                        <a:pt x="2536" y="134"/>
                      </a:cubicBezTo>
                      <a:close/>
                      <a:moveTo>
                        <a:pt x="1378" y="202"/>
                      </a:moveTo>
                      <a:cubicBezTo>
                        <a:pt x="1390" y="202"/>
                        <a:pt x="1400" y="212"/>
                        <a:pt x="1400" y="225"/>
                      </a:cubicBezTo>
                      <a:cubicBezTo>
                        <a:pt x="1400" y="237"/>
                        <a:pt x="1390" y="247"/>
                        <a:pt x="1378" y="247"/>
                      </a:cubicBezTo>
                      <a:cubicBezTo>
                        <a:pt x="1366" y="247"/>
                        <a:pt x="1356" y="237"/>
                        <a:pt x="1356" y="225"/>
                      </a:cubicBezTo>
                      <a:cubicBezTo>
                        <a:pt x="1356" y="212"/>
                        <a:pt x="1366" y="202"/>
                        <a:pt x="1378" y="202"/>
                      </a:cubicBezTo>
                      <a:close/>
                      <a:moveTo>
                        <a:pt x="744" y="45"/>
                      </a:moveTo>
                      <a:cubicBezTo>
                        <a:pt x="744" y="32"/>
                        <a:pt x="754" y="22"/>
                        <a:pt x="766" y="22"/>
                      </a:cubicBezTo>
                      <a:cubicBezTo>
                        <a:pt x="778" y="22"/>
                        <a:pt x="788" y="32"/>
                        <a:pt x="788" y="45"/>
                      </a:cubicBezTo>
                      <a:cubicBezTo>
                        <a:pt x="788" y="57"/>
                        <a:pt x="778" y="67"/>
                        <a:pt x="766" y="67"/>
                      </a:cubicBezTo>
                      <a:cubicBezTo>
                        <a:pt x="754" y="67"/>
                        <a:pt x="744" y="57"/>
                        <a:pt x="744" y="45"/>
                      </a:cubicBezTo>
                      <a:close/>
                      <a:moveTo>
                        <a:pt x="84" y="166"/>
                      </a:moveTo>
                      <a:cubicBezTo>
                        <a:pt x="61" y="166"/>
                        <a:pt x="42" y="147"/>
                        <a:pt x="42" y="123"/>
                      </a:cubicBezTo>
                      <a:cubicBezTo>
                        <a:pt x="42" y="100"/>
                        <a:pt x="61" y="81"/>
                        <a:pt x="84" y="81"/>
                      </a:cubicBezTo>
                      <a:cubicBezTo>
                        <a:pt x="108" y="81"/>
                        <a:pt x="127" y="100"/>
                        <a:pt x="127" y="123"/>
                      </a:cubicBezTo>
                      <a:cubicBezTo>
                        <a:pt x="127" y="147"/>
                        <a:pt x="108" y="166"/>
                        <a:pt x="84" y="166"/>
                      </a:cubicBezTo>
                      <a:close/>
                      <a:moveTo>
                        <a:pt x="214" y="593"/>
                      </a:moveTo>
                      <a:cubicBezTo>
                        <a:pt x="199" y="593"/>
                        <a:pt x="188" y="581"/>
                        <a:pt x="188" y="567"/>
                      </a:cubicBezTo>
                      <a:cubicBezTo>
                        <a:pt x="188" y="552"/>
                        <a:pt x="199" y="540"/>
                        <a:pt x="214" y="540"/>
                      </a:cubicBezTo>
                      <a:cubicBezTo>
                        <a:pt x="229" y="540"/>
                        <a:pt x="240" y="552"/>
                        <a:pt x="240" y="567"/>
                      </a:cubicBezTo>
                      <a:cubicBezTo>
                        <a:pt x="240" y="581"/>
                        <a:pt x="229" y="593"/>
                        <a:pt x="214" y="593"/>
                      </a:cubicBezTo>
                      <a:close/>
                      <a:moveTo>
                        <a:pt x="388" y="385"/>
                      </a:moveTo>
                      <a:cubicBezTo>
                        <a:pt x="330" y="385"/>
                        <a:pt x="282" y="339"/>
                        <a:pt x="282" y="282"/>
                      </a:cubicBezTo>
                      <a:cubicBezTo>
                        <a:pt x="282" y="225"/>
                        <a:pt x="330" y="179"/>
                        <a:pt x="388" y="179"/>
                      </a:cubicBezTo>
                      <a:cubicBezTo>
                        <a:pt x="447" y="179"/>
                        <a:pt x="494" y="225"/>
                        <a:pt x="494" y="282"/>
                      </a:cubicBezTo>
                      <a:cubicBezTo>
                        <a:pt x="494" y="339"/>
                        <a:pt x="447" y="385"/>
                        <a:pt x="388" y="385"/>
                      </a:cubicBezTo>
                      <a:close/>
                      <a:moveTo>
                        <a:pt x="706" y="423"/>
                      </a:moveTo>
                      <a:cubicBezTo>
                        <a:pt x="691" y="423"/>
                        <a:pt x="680" y="411"/>
                        <a:pt x="680" y="397"/>
                      </a:cubicBezTo>
                      <a:cubicBezTo>
                        <a:pt x="680" y="382"/>
                        <a:pt x="691" y="370"/>
                        <a:pt x="706" y="370"/>
                      </a:cubicBezTo>
                      <a:cubicBezTo>
                        <a:pt x="721" y="370"/>
                        <a:pt x="732" y="382"/>
                        <a:pt x="732" y="397"/>
                      </a:cubicBezTo>
                      <a:cubicBezTo>
                        <a:pt x="732" y="411"/>
                        <a:pt x="721" y="423"/>
                        <a:pt x="706" y="423"/>
                      </a:cubicBezTo>
                      <a:close/>
                      <a:moveTo>
                        <a:pt x="902" y="298"/>
                      </a:moveTo>
                      <a:cubicBezTo>
                        <a:pt x="866" y="298"/>
                        <a:pt x="837" y="269"/>
                        <a:pt x="837" y="233"/>
                      </a:cubicBezTo>
                      <a:cubicBezTo>
                        <a:pt x="837" y="197"/>
                        <a:pt x="866" y="168"/>
                        <a:pt x="902" y="168"/>
                      </a:cubicBezTo>
                      <a:cubicBezTo>
                        <a:pt x="938" y="168"/>
                        <a:pt x="967" y="197"/>
                        <a:pt x="967" y="233"/>
                      </a:cubicBezTo>
                      <a:cubicBezTo>
                        <a:pt x="967" y="269"/>
                        <a:pt x="938" y="298"/>
                        <a:pt x="902" y="298"/>
                      </a:cubicBezTo>
                      <a:close/>
                      <a:moveTo>
                        <a:pt x="1028" y="611"/>
                      </a:moveTo>
                      <a:cubicBezTo>
                        <a:pt x="1016" y="611"/>
                        <a:pt x="1006" y="601"/>
                        <a:pt x="1006" y="589"/>
                      </a:cubicBezTo>
                      <a:cubicBezTo>
                        <a:pt x="1006" y="576"/>
                        <a:pt x="1016" y="566"/>
                        <a:pt x="1028" y="566"/>
                      </a:cubicBezTo>
                      <a:cubicBezTo>
                        <a:pt x="1040" y="566"/>
                        <a:pt x="1050" y="576"/>
                        <a:pt x="1050" y="589"/>
                      </a:cubicBezTo>
                      <a:cubicBezTo>
                        <a:pt x="1050" y="601"/>
                        <a:pt x="1040" y="611"/>
                        <a:pt x="1028" y="611"/>
                      </a:cubicBezTo>
                      <a:close/>
                      <a:moveTo>
                        <a:pt x="1408" y="711"/>
                      </a:moveTo>
                      <a:cubicBezTo>
                        <a:pt x="1408" y="723"/>
                        <a:pt x="1398" y="733"/>
                        <a:pt x="1386" y="733"/>
                      </a:cubicBezTo>
                      <a:cubicBezTo>
                        <a:pt x="1374" y="733"/>
                        <a:pt x="1364" y="723"/>
                        <a:pt x="1364" y="711"/>
                      </a:cubicBezTo>
                      <a:cubicBezTo>
                        <a:pt x="1364" y="698"/>
                        <a:pt x="1374" y="688"/>
                        <a:pt x="1386" y="688"/>
                      </a:cubicBezTo>
                      <a:cubicBezTo>
                        <a:pt x="1398" y="688"/>
                        <a:pt x="1408" y="698"/>
                        <a:pt x="1408" y="711"/>
                      </a:cubicBezTo>
                      <a:close/>
                      <a:moveTo>
                        <a:pt x="1279" y="595"/>
                      </a:moveTo>
                      <a:cubicBezTo>
                        <a:pt x="1230" y="595"/>
                        <a:pt x="1190" y="555"/>
                        <a:pt x="1190" y="506"/>
                      </a:cubicBezTo>
                      <a:cubicBezTo>
                        <a:pt x="1190" y="456"/>
                        <a:pt x="1230" y="416"/>
                        <a:pt x="1279" y="416"/>
                      </a:cubicBezTo>
                      <a:cubicBezTo>
                        <a:pt x="1328" y="416"/>
                        <a:pt x="1368" y="456"/>
                        <a:pt x="1368" y="506"/>
                      </a:cubicBezTo>
                      <a:cubicBezTo>
                        <a:pt x="1368" y="555"/>
                        <a:pt x="1328" y="595"/>
                        <a:pt x="1279" y="595"/>
                      </a:cubicBezTo>
                      <a:close/>
                      <a:moveTo>
                        <a:pt x="2005" y="866"/>
                      </a:moveTo>
                      <a:cubicBezTo>
                        <a:pt x="1885" y="866"/>
                        <a:pt x="1788" y="769"/>
                        <a:pt x="1788" y="649"/>
                      </a:cubicBezTo>
                      <a:cubicBezTo>
                        <a:pt x="1788" y="529"/>
                        <a:pt x="1885" y="432"/>
                        <a:pt x="2005" y="432"/>
                      </a:cubicBezTo>
                      <a:cubicBezTo>
                        <a:pt x="2125" y="432"/>
                        <a:pt x="2222" y="529"/>
                        <a:pt x="2222" y="649"/>
                      </a:cubicBezTo>
                      <a:cubicBezTo>
                        <a:pt x="2222" y="769"/>
                        <a:pt x="2125" y="866"/>
                        <a:pt x="2005" y="866"/>
                      </a:cubicBezTo>
                      <a:close/>
                      <a:moveTo>
                        <a:pt x="2835" y="611"/>
                      </a:moveTo>
                      <a:cubicBezTo>
                        <a:pt x="2835" y="635"/>
                        <a:pt x="2816" y="654"/>
                        <a:pt x="2792" y="654"/>
                      </a:cubicBezTo>
                      <a:cubicBezTo>
                        <a:pt x="2769" y="654"/>
                        <a:pt x="2750" y="635"/>
                        <a:pt x="2750" y="611"/>
                      </a:cubicBezTo>
                      <a:cubicBezTo>
                        <a:pt x="2750" y="588"/>
                        <a:pt x="2769" y="569"/>
                        <a:pt x="2792" y="569"/>
                      </a:cubicBezTo>
                      <a:cubicBezTo>
                        <a:pt x="2816" y="569"/>
                        <a:pt x="2835" y="588"/>
                        <a:pt x="2835" y="611"/>
                      </a:cubicBezTo>
                      <a:close/>
                      <a:moveTo>
                        <a:pt x="2685" y="413"/>
                      </a:moveTo>
                      <a:cubicBezTo>
                        <a:pt x="2635" y="413"/>
                        <a:pt x="2594" y="372"/>
                        <a:pt x="2594" y="321"/>
                      </a:cubicBezTo>
                      <a:cubicBezTo>
                        <a:pt x="2594" y="271"/>
                        <a:pt x="2635" y="230"/>
                        <a:pt x="2685" y="230"/>
                      </a:cubicBezTo>
                      <a:cubicBezTo>
                        <a:pt x="2736" y="230"/>
                        <a:pt x="2777" y="271"/>
                        <a:pt x="2777" y="321"/>
                      </a:cubicBezTo>
                      <a:cubicBezTo>
                        <a:pt x="2777" y="372"/>
                        <a:pt x="2736" y="413"/>
                        <a:pt x="2685" y="413"/>
                      </a:cubicBezTo>
                      <a:close/>
                      <a:moveTo>
                        <a:pt x="3020" y="855"/>
                      </a:moveTo>
                      <a:cubicBezTo>
                        <a:pt x="3008" y="855"/>
                        <a:pt x="2998" y="845"/>
                        <a:pt x="2998" y="833"/>
                      </a:cubicBezTo>
                      <a:cubicBezTo>
                        <a:pt x="2998" y="820"/>
                        <a:pt x="3008" y="810"/>
                        <a:pt x="3020" y="810"/>
                      </a:cubicBezTo>
                      <a:cubicBezTo>
                        <a:pt x="3032" y="810"/>
                        <a:pt x="3042" y="820"/>
                        <a:pt x="3042" y="833"/>
                      </a:cubicBezTo>
                      <a:cubicBezTo>
                        <a:pt x="3042" y="845"/>
                        <a:pt x="3032" y="855"/>
                        <a:pt x="3020" y="855"/>
                      </a:cubicBezTo>
                      <a:close/>
                      <a:moveTo>
                        <a:pt x="3147" y="564"/>
                      </a:moveTo>
                      <a:cubicBezTo>
                        <a:pt x="3094" y="564"/>
                        <a:pt x="3051" y="521"/>
                        <a:pt x="3051" y="468"/>
                      </a:cubicBezTo>
                      <a:cubicBezTo>
                        <a:pt x="3051" y="415"/>
                        <a:pt x="3094" y="372"/>
                        <a:pt x="3147" y="372"/>
                      </a:cubicBezTo>
                      <a:cubicBezTo>
                        <a:pt x="3200" y="372"/>
                        <a:pt x="3243" y="415"/>
                        <a:pt x="3243" y="468"/>
                      </a:cubicBezTo>
                      <a:cubicBezTo>
                        <a:pt x="3243" y="521"/>
                        <a:pt x="3200" y="564"/>
                        <a:pt x="3147" y="564"/>
                      </a:cubicBezTo>
                      <a:close/>
                      <a:moveTo>
                        <a:pt x="3540" y="633"/>
                      </a:moveTo>
                      <a:cubicBezTo>
                        <a:pt x="3564" y="633"/>
                        <a:pt x="3583" y="652"/>
                        <a:pt x="3583" y="675"/>
                      </a:cubicBezTo>
                      <a:cubicBezTo>
                        <a:pt x="3583" y="699"/>
                        <a:pt x="3564" y="718"/>
                        <a:pt x="3540" y="718"/>
                      </a:cubicBezTo>
                      <a:cubicBezTo>
                        <a:pt x="3517" y="718"/>
                        <a:pt x="3498" y="699"/>
                        <a:pt x="3498" y="675"/>
                      </a:cubicBezTo>
                      <a:cubicBezTo>
                        <a:pt x="3498" y="652"/>
                        <a:pt x="3517" y="633"/>
                        <a:pt x="3540" y="633"/>
                      </a:cubicBezTo>
                      <a:close/>
                      <a:moveTo>
                        <a:pt x="3442" y="433"/>
                      </a:moveTo>
                      <a:cubicBezTo>
                        <a:pt x="3430" y="433"/>
                        <a:pt x="3420" y="423"/>
                        <a:pt x="3420" y="411"/>
                      </a:cubicBezTo>
                      <a:cubicBezTo>
                        <a:pt x="3420" y="398"/>
                        <a:pt x="3430" y="388"/>
                        <a:pt x="3442" y="388"/>
                      </a:cubicBezTo>
                      <a:cubicBezTo>
                        <a:pt x="3454" y="388"/>
                        <a:pt x="3464" y="398"/>
                        <a:pt x="3464" y="411"/>
                      </a:cubicBezTo>
                      <a:cubicBezTo>
                        <a:pt x="3464" y="423"/>
                        <a:pt x="3454" y="433"/>
                        <a:pt x="3442" y="433"/>
                      </a:cubicBezTo>
                      <a:close/>
                      <a:moveTo>
                        <a:pt x="3618" y="240"/>
                      </a:moveTo>
                      <a:cubicBezTo>
                        <a:pt x="3575" y="240"/>
                        <a:pt x="3539" y="205"/>
                        <a:pt x="3539" y="161"/>
                      </a:cubicBezTo>
                      <a:cubicBezTo>
                        <a:pt x="3539" y="117"/>
                        <a:pt x="3575" y="82"/>
                        <a:pt x="3618" y="82"/>
                      </a:cubicBezTo>
                      <a:cubicBezTo>
                        <a:pt x="3662" y="82"/>
                        <a:pt x="3697" y="117"/>
                        <a:pt x="3697" y="161"/>
                      </a:cubicBezTo>
                      <a:cubicBezTo>
                        <a:pt x="3697" y="205"/>
                        <a:pt x="3662" y="240"/>
                        <a:pt x="3618" y="240"/>
                      </a:cubicBezTo>
                      <a:close/>
                      <a:moveTo>
                        <a:pt x="3930" y="414"/>
                      </a:moveTo>
                      <a:cubicBezTo>
                        <a:pt x="3907" y="414"/>
                        <a:pt x="3888" y="395"/>
                        <a:pt x="3888" y="371"/>
                      </a:cubicBezTo>
                      <a:cubicBezTo>
                        <a:pt x="3888" y="348"/>
                        <a:pt x="3907" y="329"/>
                        <a:pt x="3930" y="329"/>
                      </a:cubicBezTo>
                      <a:cubicBezTo>
                        <a:pt x="3954" y="329"/>
                        <a:pt x="3973" y="348"/>
                        <a:pt x="3973" y="371"/>
                      </a:cubicBezTo>
                      <a:cubicBezTo>
                        <a:pt x="3973" y="395"/>
                        <a:pt x="3954" y="414"/>
                        <a:pt x="3930" y="4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>
                    <a:latin typeface="Aptos" panose="020B0004020202020204" pitchFamily="34" charset="0"/>
                  </a:endParaRPr>
                </a:p>
              </p:txBody>
            </p:sp>
          </p:grpSp>
          <p:sp>
            <p:nvSpPr>
              <p:cNvPr id="25" name="Rechteck 24"/>
              <p:cNvSpPr/>
              <p:nvPr userDrawn="1"/>
            </p:nvSpPr>
            <p:spPr>
              <a:xfrm>
                <a:off x="0" y="0"/>
                <a:ext cx="12190413" cy="6858000"/>
              </a:xfrm>
              <a:prstGeom prst="rect">
                <a:avLst/>
              </a:prstGeom>
              <a:gradFill flip="none" rotWithShape="0">
                <a:gsLst>
                  <a:gs pos="0">
                    <a:schemeClr val="tx1">
                      <a:alpha val="90000"/>
                    </a:schemeClr>
                  </a:gs>
                  <a:gs pos="50000">
                    <a:schemeClr val="tx1">
                      <a:lumMod val="85000"/>
                      <a:lumOff val="15000"/>
                      <a:alpha val="50000"/>
                    </a:schemeClr>
                  </a:gs>
                  <a:gs pos="100000">
                    <a:schemeClr val="tx1">
                      <a:lumMod val="65000"/>
                      <a:lumOff val="35000"/>
                      <a:alpha val="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bg1"/>
                  </a:solidFill>
                  <a:latin typeface="Aptos" panose="020B0004020202020204" pitchFamily="34" charset="0"/>
                </a:endParaRPr>
              </a:p>
            </p:txBody>
          </p:sp>
        </p:grpSp>
      </p:grpSp>
      <p:sp>
        <p:nvSpPr>
          <p:cNvPr id="28" name="Titel 1"/>
          <p:cNvSpPr>
            <a:spLocks noGrp="1"/>
          </p:cNvSpPr>
          <p:nvPr>
            <p:ph type="title" hasCustomPrompt="1"/>
          </p:nvPr>
        </p:nvSpPr>
        <p:spPr>
          <a:xfrm>
            <a:off x="1073810" y="1006125"/>
            <a:ext cx="7920000" cy="1709843"/>
          </a:xfrm>
        </p:spPr>
        <p:txBody>
          <a:bodyPr tIns="0" anchor="b" anchorCtr="0">
            <a:noAutofit/>
          </a:bodyPr>
          <a:lstStyle>
            <a:lvl1pPr algn="l">
              <a:lnSpc>
                <a:spcPct val="80000"/>
              </a:lnSpc>
              <a:defRPr sz="6000" b="0" cap="none" baseline="0">
                <a:solidFill>
                  <a:schemeClr val="bg1"/>
                </a:solidFill>
                <a:latin typeface="Aptos ExtraBold" panose="020B0004020202020204" pitchFamily="34" charset="0"/>
              </a:defRPr>
            </a:lvl1pPr>
          </a:lstStyle>
          <a:p>
            <a:r>
              <a:rPr lang="de-DE" dirty="0"/>
              <a:t>SECTION TITLE</a:t>
            </a:r>
            <a:endParaRPr lang="en-US" dirty="0"/>
          </a:p>
        </p:txBody>
      </p:sp>
      <p:sp>
        <p:nvSpPr>
          <p:cNvPr id="29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073814" y="2715967"/>
            <a:ext cx="7920000" cy="666000"/>
          </a:xfrm>
        </p:spPr>
        <p:txBody>
          <a:bodyPr vert="horz" lIns="10798" tIns="0" rIns="0" bIns="0" rtlCol="0" anchor="t" anchorCtr="0">
            <a:noAutofit/>
          </a:bodyPr>
          <a:lstStyle>
            <a:lvl1pPr>
              <a:defRPr lang="de-DE" sz="32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80000"/>
              </a:lnSpc>
              <a:buNone/>
            </a:pPr>
            <a:r>
              <a:rPr lang="de-DE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11925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Aptos Light" panose="020B0004020202020204" pitchFamily="34" charset="0"/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2" y="1483952"/>
            <a:ext cx="11134410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01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Aptos Light" panose="020B0004020202020204" pitchFamily="34" charset="0"/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1" y="1483952"/>
            <a:ext cx="8460000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43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Aptos Light" panose="020B0004020202020204" pitchFamily="34" charset="0"/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5" name="Inhaltsplatzhalter 2"/>
          <p:cNvSpPr>
            <a:spLocks noGrp="1"/>
          </p:cNvSpPr>
          <p:nvPr>
            <p:ph idx="16"/>
          </p:nvPr>
        </p:nvSpPr>
        <p:spPr>
          <a:xfrm>
            <a:off x="6310800" y="1476439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890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Aptos Light" panose="020B0004020202020204" pitchFamily="34" charset="0"/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6"/>
          </p:nvPr>
        </p:nvSpPr>
        <p:spPr>
          <a:xfrm>
            <a:off x="6310803" y="1483952"/>
            <a:ext cx="5879612" cy="432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335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3" y="942477"/>
            <a:ext cx="11133137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Aptos Light" panose="020B0004020202020204" pitchFamily="34" charset="0"/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Aptos Light" panose="020B0004020202020204" pitchFamily="34" charset="0"/>
              </a:defRPr>
            </a:lvl1pPr>
          </a:lstStyle>
          <a:p>
            <a:r>
              <a:rPr lang="en-US" dirty="0"/>
              <a:t>Enter your footer text here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  <a:latin typeface="Aptos" panose="020B0004020202020204" pitchFamily="34" charset="0"/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63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5633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-279401" y="5"/>
            <a:ext cx="12749214" cy="6869863"/>
            <a:chOff x="-279401" y="0"/>
            <a:chExt cx="12749213" cy="6869863"/>
          </a:xfrm>
        </p:grpSpPr>
        <p:grpSp>
          <p:nvGrpSpPr>
            <p:cNvPr id="33" name="Gruppieren 32"/>
            <p:cNvGrpSpPr/>
            <p:nvPr userDrawn="1"/>
          </p:nvGrpSpPr>
          <p:grpSpPr>
            <a:xfrm>
              <a:off x="0" y="0"/>
              <a:ext cx="12190413" cy="6858000"/>
              <a:chOff x="0" y="0"/>
              <a:chExt cx="12190413" cy="6858000"/>
            </a:xfrm>
            <a:solidFill>
              <a:schemeClr val="accent1">
                <a:lumMod val="50000"/>
              </a:schemeClr>
            </a:solidFill>
          </p:grpSpPr>
          <p:sp>
            <p:nvSpPr>
              <p:cNvPr id="34" name="Rechteck 33"/>
              <p:cNvSpPr/>
              <p:nvPr userDrawn="1"/>
            </p:nvSpPr>
            <p:spPr bwMode="auto">
              <a:xfrm>
                <a:off x="0" y="0"/>
                <a:ext cx="12190413" cy="6858000"/>
              </a:xfrm>
              <a:prstGeom prst="rect">
                <a:avLst/>
              </a:pr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31" tIns="45715" rIns="91431" bIns="45715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>
                  <a:latin typeface="Aptos" panose="020B0004020202020204" pitchFamily="34" charset="0"/>
                </a:endParaRPr>
              </a:p>
            </p:txBody>
          </p:sp>
          <p:grpSp>
            <p:nvGrpSpPr>
              <p:cNvPr id="35" name="Gruppieren 34"/>
              <p:cNvGrpSpPr/>
              <p:nvPr userDrawn="1"/>
            </p:nvGrpSpPr>
            <p:grpSpPr>
              <a:xfrm>
                <a:off x="80228" y="4852085"/>
                <a:ext cx="12110185" cy="2005914"/>
                <a:chOff x="80228" y="4852085"/>
                <a:chExt cx="12110185" cy="2005914"/>
              </a:xfrm>
              <a:grpFill/>
            </p:grpSpPr>
            <p:sp>
              <p:nvSpPr>
                <p:cNvPr id="37" name="Freeform 15"/>
                <p:cNvSpPr>
                  <a:spLocks/>
                </p:cNvSpPr>
                <p:nvPr userDrawn="1"/>
              </p:nvSpPr>
              <p:spPr bwMode="auto">
                <a:xfrm>
                  <a:off x="80228" y="4852085"/>
                  <a:ext cx="12108033" cy="2001797"/>
                </a:xfrm>
                <a:custGeom>
                  <a:avLst/>
                  <a:gdLst>
                    <a:gd name="T0" fmla="*/ 453 w 453"/>
                    <a:gd name="T1" fmla="*/ 54 h 54"/>
                    <a:gd name="T2" fmla="*/ 453 w 453"/>
                    <a:gd name="T3" fmla="*/ 18 h 54"/>
                    <a:gd name="T4" fmla="*/ 278 w 453"/>
                    <a:gd name="T5" fmla="*/ 0 h 54"/>
                    <a:gd name="T6" fmla="*/ 0 w 453"/>
                    <a:gd name="T7" fmla="*/ 54 h 54"/>
                    <a:gd name="T8" fmla="*/ 453 w 453"/>
                    <a:gd name="T9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3" h="54">
                      <a:moveTo>
                        <a:pt x="453" y="54"/>
                      </a:moveTo>
                      <a:cubicBezTo>
                        <a:pt x="453" y="18"/>
                        <a:pt x="453" y="18"/>
                        <a:pt x="453" y="18"/>
                      </a:cubicBezTo>
                      <a:cubicBezTo>
                        <a:pt x="402" y="7"/>
                        <a:pt x="342" y="0"/>
                        <a:pt x="278" y="0"/>
                      </a:cubicBezTo>
                      <a:cubicBezTo>
                        <a:pt x="163" y="0"/>
                        <a:pt x="62" y="21"/>
                        <a:pt x="0" y="54"/>
                      </a:cubicBezTo>
                      <a:lnTo>
                        <a:pt x="453" y="54"/>
                      </a:lnTo>
                      <a:close/>
                    </a:path>
                  </a:pathLst>
                </a:custGeom>
                <a:grpFill/>
                <a:ln w="857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>
                    <a:latin typeface="Aptos" panose="020B0004020202020204" pitchFamily="34" charset="0"/>
                  </a:endParaRPr>
                </a:p>
              </p:txBody>
            </p:sp>
            <p:sp>
              <p:nvSpPr>
                <p:cNvPr id="38" name="Freeform 15"/>
                <p:cNvSpPr>
                  <a:spLocks/>
                </p:cNvSpPr>
                <p:nvPr userDrawn="1"/>
              </p:nvSpPr>
              <p:spPr bwMode="auto">
                <a:xfrm>
                  <a:off x="2191718" y="5482769"/>
                  <a:ext cx="9998695" cy="1375230"/>
                </a:xfrm>
                <a:custGeom>
                  <a:avLst/>
                  <a:gdLst>
                    <a:gd name="T0" fmla="*/ 453 w 453"/>
                    <a:gd name="T1" fmla="*/ 54 h 54"/>
                    <a:gd name="T2" fmla="*/ 453 w 453"/>
                    <a:gd name="T3" fmla="*/ 18 h 54"/>
                    <a:gd name="T4" fmla="*/ 278 w 453"/>
                    <a:gd name="T5" fmla="*/ 0 h 54"/>
                    <a:gd name="T6" fmla="*/ 0 w 453"/>
                    <a:gd name="T7" fmla="*/ 54 h 54"/>
                    <a:gd name="T8" fmla="*/ 453 w 453"/>
                    <a:gd name="T9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3" h="54">
                      <a:moveTo>
                        <a:pt x="453" y="54"/>
                      </a:moveTo>
                      <a:cubicBezTo>
                        <a:pt x="453" y="18"/>
                        <a:pt x="453" y="18"/>
                        <a:pt x="453" y="18"/>
                      </a:cubicBezTo>
                      <a:cubicBezTo>
                        <a:pt x="402" y="7"/>
                        <a:pt x="342" y="0"/>
                        <a:pt x="278" y="0"/>
                      </a:cubicBezTo>
                      <a:cubicBezTo>
                        <a:pt x="163" y="0"/>
                        <a:pt x="62" y="21"/>
                        <a:pt x="0" y="54"/>
                      </a:cubicBezTo>
                      <a:lnTo>
                        <a:pt x="453" y="54"/>
                      </a:lnTo>
                      <a:close/>
                    </a:path>
                  </a:pathLst>
                </a:custGeom>
                <a:grpFill/>
                <a:ln w="857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>
                    <a:latin typeface="Aptos" panose="020B0004020202020204" pitchFamily="34" charset="0"/>
                  </a:endParaRPr>
                </a:p>
              </p:txBody>
            </p:sp>
          </p:grpSp>
        </p:grpSp>
        <p:grpSp>
          <p:nvGrpSpPr>
            <p:cNvPr id="22" name="Gruppieren 21"/>
            <p:cNvGrpSpPr/>
            <p:nvPr userDrawn="1"/>
          </p:nvGrpSpPr>
          <p:grpSpPr>
            <a:xfrm>
              <a:off x="-279401" y="3058276"/>
              <a:ext cx="12749213" cy="3163887"/>
              <a:chOff x="-276225" y="3046413"/>
              <a:chExt cx="12749213" cy="3163887"/>
            </a:xfrm>
            <a:solidFill>
              <a:schemeClr val="bg1"/>
            </a:solidFill>
          </p:grpSpPr>
          <p:sp>
            <p:nvSpPr>
              <p:cNvPr id="40" name="Freeform 7"/>
              <p:cNvSpPr>
                <a:spLocks noEditPoints="1"/>
              </p:cNvSpPr>
              <p:nvPr userDrawn="1"/>
            </p:nvSpPr>
            <p:spPr bwMode="auto">
              <a:xfrm>
                <a:off x="-276225" y="3046413"/>
                <a:ext cx="12749213" cy="3163887"/>
              </a:xfrm>
              <a:custGeom>
                <a:avLst/>
                <a:gdLst>
                  <a:gd name="T0" fmla="*/ 3618 w 4014"/>
                  <a:gd name="T1" fmla="*/ 28 h 996"/>
                  <a:gd name="T2" fmla="*/ 3397 w 4014"/>
                  <a:gd name="T3" fmla="*/ 411 h 996"/>
                  <a:gd name="T4" fmla="*/ 2836 w 4014"/>
                  <a:gd name="T5" fmla="*/ 365 h 996"/>
                  <a:gd name="T6" fmla="*/ 2841 w 4014"/>
                  <a:gd name="T7" fmla="*/ 65 h 996"/>
                  <a:gd name="T8" fmla="*/ 2685 w 4014"/>
                  <a:gd name="T9" fmla="*/ 168 h 996"/>
                  <a:gd name="T10" fmla="*/ 2523 w 4014"/>
                  <a:gd name="T11" fmla="*/ 134 h 996"/>
                  <a:gd name="T12" fmla="*/ 2553 w 4014"/>
                  <a:gd name="T13" fmla="*/ 407 h 996"/>
                  <a:gd name="T14" fmla="*/ 1431 w 4014"/>
                  <a:gd name="T15" fmla="*/ 508 h 996"/>
                  <a:gd name="T16" fmla="*/ 1378 w 4014"/>
                  <a:gd name="T17" fmla="*/ 180 h 996"/>
                  <a:gd name="T18" fmla="*/ 1149 w 4014"/>
                  <a:gd name="T19" fmla="*/ 430 h 996"/>
                  <a:gd name="T20" fmla="*/ 794 w 4014"/>
                  <a:gd name="T21" fmla="*/ 80 h 996"/>
                  <a:gd name="T22" fmla="*/ 780 w 4014"/>
                  <a:gd name="T23" fmla="*/ 87 h 996"/>
                  <a:gd name="T24" fmla="*/ 706 w 4014"/>
                  <a:gd name="T25" fmla="*/ 344 h 996"/>
                  <a:gd name="T26" fmla="*/ 231 w 4014"/>
                  <a:gd name="T27" fmla="*/ 199 h 996"/>
                  <a:gd name="T28" fmla="*/ 84 w 4014"/>
                  <a:gd name="T29" fmla="*/ 207 h 996"/>
                  <a:gd name="T30" fmla="*/ 230 w 4014"/>
                  <a:gd name="T31" fmla="*/ 516 h 996"/>
                  <a:gd name="T32" fmla="*/ 244 w 4014"/>
                  <a:gd name="T33" fmla="*/ 523 h 996"/>
                  <a:gd name="T34" fmla="*/ 653 w 4014"/>
                  <a:gd name="T35" fmla="*/ 397 h 996"/>
                  <a:gd name="T36" fmla="*/ 902 w 4014"/>
                  <a:gd name="T37" fmla="*/ 346 h 996"/>
                  <a:gd name="T38" fmla="*/ 1068 w 4014"/>
                  <a:gd name="T39" fmla="*/ 567 h 996"/>
                  <a:gd name="T40" fmla="*/ 1073 w 4014"/>
                  <a:gd name="T41" fmla="*/ 583 h 996"/>
                  <a:gd name="T42" fmla="*/ 1341 w 4014"/>
                  <a:gd name="T43" fmla="*/ 711 h 996"/>
                  <a:gd name="T44" fmla="*/ 1353 w 4014"/>
                  <a:gd name="T45" fmla="*/ 641 h 996"/>
                  <a:gd name="T46" fmla="*/ 2350 w 4014"/>
                  <a:gd name="T47" fmla="*/ 651 h 996"/>
                  <a:gd name="T48" fmla="*/ 2757 w 4014"/>
                  <a:gd name="T49" fmla="*/ 535 h 996"/>
                  <a:gd name="T50" fmla="*/ 2773 w 4014"/>
                  <a:gd name="T51" fmla="*/ 530 h 996"/>
                  <a:gd name="T52" fmla="*/ 3085 w 4014"/>
                  <a:gd name="T53" fmla="*/ 622 h 996"/>
                  <a:gd name="T54" fmla="*/ 3065 w 4014"/>
                  <a:gd name="T55" fmla="*/ 833 h 996"/>
                  <a:gd name="T56" fmla="*/ 3459 w 4014"/>
                  <a:gd name="T57" fmla="*/ 656 h 996"/>
                  <a:gd name="T58" fmla="*/ 3464 w 4014"/>
                  <a:gd name="T59" fmla="*/ 641 h 996"/>
                  <a:gd name="T60" fmla="*/ 3442 w 4014"/>
                  <a:gd name="T61" fmla="*/ 456 h 996"/>
                  <a:gd name="T62" fmla="*/ 3726 w 4014"/>
                  <a:gd name="T63" fmla="*/ 244 h 996"/>
                  <a:gd name="T64" fmla="*/ 3930 w 4014"/>
                  <a:gd name="T65" fmla="*/ 287 h 996"/>
                  <a:gd name="T66" fmla="*/ 2796 w 4014"/>
                  <a:gd name="T67" fmla="*/ 42 h 996"/>
                  <a:gd name="T68" fmla="*/ 2536 w 4014"/>
                  <a:gd name="T69" fmla="*/ 134 h 996"/>
                  <a:gd name="T70" fmla="*/ 1378 w 4014"/>
                  <a:gd name="T71" fmla="*/ 202 h 996"/>
                  <a:gd name="T72" fmla="*/ 744 w 4014"/>
                  <a:gd name="T73" fmla="*/ 45 h 996"/>
                  <a:gd name="T74" fmla="*/ 84 w 4014"/>
                  <a:gd name="T75" fmla="*/ 166 h 996"/>
                  <a:gd name="T76" fmla="*/ 214 w 4014"/>
                  <a:gd name="T77" fmla="*/ 593 h 996"/>
                  <a:gd name="T78" fmla="*/ 388 w 4014"/>
                  <a:gd name="T79" fmla="*/ 385 h 996"/>
                  <a:gd name="T80" fmla="*/ 706 w 4014"/>
                  <a:gd name="T81" fmla="*/ 423 h 996"/>
                  <a:gd name="T82" fmla="*/ 902 w 4014"/>
                  <a:gd name="T83" fmla="*/ 298 h 996"/>
                  <a:gd name="T84" fmla="*/ 1028 w 4014"/>
                  <a:gd name="T85" fmla="*/ 611 h 996"/>
                  <a:gd name="T86" fmla="*/ 1408 w 4014"/>
                  <a:gd name="T87" fmla="*/ 711 h 996"/>
                  <a:gd name="T88" fmla="*/ 1279 w 4014"/>
                  <a:gd name="T89" fmla="*/ 595 h 996"/>
                  <a:gd name="T90" fmla="*/ 2005 w 4014"/>
                  <a:gd name="T91" fmla="*/ 866 h 996"/>
                  <a:gd name="T92" fmla="*/ 2835 w 4014"/>
                  <a:gd name="T93" fmla="*/ 611 h 996"/>
                  <a:gd name="T94" fmla="*/ 2685 w 4014"/>
                  <a:gd name="T95" fmla="*/ 413 h 996"/>
                  <a:gd name="T96" fmla="*/ 3020 w 4014"/>
                  <a:gd name="T97" fmla="*/ 855 h 996"/>
                  <a:gd name="T98" fmla="*/ 3147 w 4014"/>
                  <a:gd name="T99" fmla="*/ 564 h 996"/>
                  <a:gd name="T100" fmla="*/ 3540 w 4014"/>
                  <a:gd name="T101" fmla="*/ 633 h 996"/>
                  <a:gd name="T102" fmla="*/ 3442 w 4014"/>
                  <a:gd name="T103" fmla="*/ 433 h 996"/>
                  <a:gd name="T104" fmla="*/ 3618 w 4014"/>
                  <a:gd name="T105" fmla="*/ 240 h 996"/>
                  <a:gd name="T106" fmla="*/ 3930 w 4014"/>
                  <a:gd name="T107" fmla="*/ 414 h 9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14" h="996">
                    <a:moveTo>
                      <a:pt x="3930" y="287"/>
                    </a:moveTo>
                    <a:cubicBezTo>
                      <a:pt x="3903" y="287"/>
                      <a:pt x="3880" y="300"/>
                      <a:pt x="3864" y="320"/>
                    </a:cubicBezTo>
                    <a:cubicBezTo>
                      <a:pt x="3735" y="231"/>
                      <a:pt x="3735" y="231"/>
                      <a:pt x="3735" y="231"/>
                    </a:cubicBezTo>
                    <a:cubicBezTo>
                      <a:pt x="3747" y="211"/>
                      <a:pt x="3753" y="188"/>
                      <a:pt x="3753" y="163"/>
                    </a:cubicBezTo>
                    <a:cubicBezTo>
                      <a:pt x="3753" y="88"/>
                      <a:pt x="3693" y="28"/>
                      <a:pt x="3618" y="28"/>
                    </a:cubicBezTo>
                    <a:cubicBezTo>
                      <a:pt x="3544" y="28"/>
                      <a:pt x="3483" y="88"/>
                      <a:pt x="3483" y="163"/>
                    </a:cubicBezTo>
                    <a:cubicBezTo>
                      <a:pt x="3483" y="207"/>
                      <a:pt x="3505" y="247"/>
                      <a:pt x="3538" y="272"/>
                    </a:cubicBezTo>
                    <a:cubicBezTo>
                      <a:pt x="3464" y="372"/>
                      <a:pt x="3464" y="372"/>
                      <a:pt x="3464" y="372"/>
                    </a:cubicBezTo>
                    <a:cubicBezTo>
                      <a:pt x="3458" y="368"/>
                      <a:pt x="3450" y="366"/>
                      <a:pt x="3442" y="366"/>
                    </a:cubicBezTo>
                    <a:cubicBezTo>
                      <a:pt x="3417" y="366"/>
                      <a:pt x="3397" y="386"/>
                      <a:pt x="3397" y="411"/>
                    </a:cubicBezTo>
                    <a:cubicBezTo>
                      <a:pt x="3397" y="412"/>
                      <a:pt x="3397" y="412"/>
                      <a:pt x="3397" y="413"/>
                    </a:cubicBezTo>
                    <a:cubicBezTo>
                      <a:pt x="3304" y="424"/>
                      <a:pt x="3304" y="424"/>
                      <a:pt x="3304" y="424"/>
                    </a:cubicBezTo>
                    <a:cubicBezTo>
                      <a:pt x="3284" y="357"/>
                      <a:pt x="3221" y="307"/>
                      <a:pt x="3147" y="307"/>
                    </a:cubicBezTo>
                    <a:cubicBezTo>
                      <a:pt x="3077" y="307"/>
                      <a:pt x="3017" y="351"/>
                      <a:pt x="2994" y="414"/>
                    </a:cubicBezTo>
                    <a:cubicBezTo>
                      <a:pt x="2836" y="365"/>
                      <a:pt x="2836" y="365"/>
                      <a:pt x="2836" y="365"/>
                    </a:cubicBezTo>
                    <a:cubicBezTo>
                      <a:pt x="2839" y="352"/>
                      <a:pt x="2841" y="338"/>
                      <a:pt x="2841" y="324"/>
                    </a:cubicBezTo>
                    <a:cubicBezTo>
                      <a:pt x="2841" y="263"/>
                      <a:pt x="2807" y="211"/>
                      <a:pt x="2757" y="185"/>
                    </a:cubicBezTo>
                    <a:cubicBezTo>
                      <a:pt x="2787" y="109"/>
                      <a:pt x="2787" y="109"/>
                      <a:pt x="2787" y="109"/>
                    </a:cubicBezTo>
                    <a:cubicBezTo>
                      <a:pt x="2790" y="109"/>
                      <a:pt x="2793" y="110"/>
                      <a:pt x="2796" y="110"/>
                    </a:cubicBezTo>
                    <a:cubicBezTo>
                      <a:pt x="2821" y="110"/>
                      <a:pt x="2841" y="89"/>
                      <a:pt x="2841" y="65"/>
                    </a:cubicBezTo>
                    <a:cubicBezTo>
                      <a:pt x="2841" y="40"/>
                      <a:pt x="2821" y="20"/>
                      <a:pt x="2796" y="20"/>
                    </a:cubicBezTo>
                    <a:cubicBezTo>
                      <a:pt x="2771" y="20"/>
                      <a:pt x="2751" y="40"/>
                      <a:pt x="2751" y="65"/>
                    </a:cubicBezTo>
                    <a:cubicBezTo>
                      <a:pt x="2751" y="81"/>
                      <a:pt x="2760" y="95"/>
                      <a:pt x="2772" y="103"/>
                    </a:cubicBezTo>
                    <a:cubicBezTo>
                      <a:pt x="2742" y="179"/>
                      <a:pt x="2742" y="179"/>
                      <a:pt x="2742" y="179"/>
                    </a:cubicBezTo>
                    <a:cubicBezTo>
                      <a:pt x="2724" y="172"/>
                      <a:pt x="2705" y="168"/>
                      <a:pt x="2685" y="168"/>
                    </a:cubicBezTo>
                    <a:cubicBezTo>
                      <a:pt x="2658" y="168"/>
                      <a:pt x="2632" y="175"/>
                      <a:pt x="2609" y="188"/>
                    </a:cubicBezTo>
                    <a:cubicBezTo>
                      <a:pt x="2575" y="151"/>
                      <a:pt x="2575" y="151"/>
                      <a:pt x="2575" y="151"/>
                    </a:cubicBezTo>
                    <a:cubicBezTo>
                      <a:pt x="2579" y="146"/>
                      <a:pt x="2581" y="140"/>
                      <a:pt x="2581" y="134"/>
                    </a:cubicBezTo>
                    <a:cubicBezTo>
                      <a:pt x="2581" y="118"/>
                      <a:pt x="2568" y="105"/>
                      <a:pt x="2552" y="105"/>
                    </a:cubicBezTo>
                    <a:cubicBezTo>
                      <a:pt x="2536" y="105"/>
                      <a:pt x="2523" y="118"/>
                      <a:pt x="2523" y="134"/>
                    </a:cubicBezTo>
                    <a:cubicBezTo>
                      <a:pt x="2523" y="150"/>
                      <a:pt x="2536" y="163"/>
                      <a:pt x="2552" y="163"/>
                    </a:cubicBezTo>
                    <a:cubicBezTo>
                      <a:pt x="2556" y="163"/>
                      <a:pt x="2559" y="162"/>
                      <a:pt x="2563" y="161"/>
                    </a:cubicBezTo>
                    <a:cubicBezTo>
                      <a:pt x="2595" y="196"/>
                      <a:pt x="2595" y="196"/>
                      <a:pt x="2595" y="196"/>
                    </a:cubicBezTo>
                    <a:cubicBezTo>
                      <a:pt x="2555" y="225"/>
                      <a:pt x="2529" y="271"/>
                      <a:pt x="2529" y="324"/>
                    </a:cubicBezTo>
                    <a:cubicBezTo>
                      <a:pt x="2529" y="354"/>
                      <a:pt x="2538" y="383"/>
                      <a:pt x="2553" y="407"/>
                    </a:cubicBezTo>
                    <a:cubicBezTo>
                      <a:pt x="2334" y="546"/>
                      <a:pt x="2334" y="546"/>
                      <a:pt x="2334" y="546"/>
                    </a:cubicBezTo>
                    <a:cubicBezTo>
                      <a:pt x="2290" y="407"/>
                      <a:pt x="2159" y="306"/>
                      <a:pt x="2005" y="306"/>
                    </a:cubicBezTo>
                    <a:cubicBezTo>
                      <a:pt x="1840" y="306"/>
                      <a:pt x="1702" y="422"/>
                      <a:pt x="1668" y="577"/>
                    </a:cubicBezTo>
                    <a:cubicBezTo>
                      <a:pt x="1429" y="537"/>
                      <a:pt x="1429" y="537"/>
                      <a:pt x="1429" y="537"/>
                    </a:cubicBezTo>
                    <a:cubicBezTo>
                      <a:pt x="1430" y="527"/>
                      <a:pt x="1431" y="518"/>
                      <a:pt x="1431" y="508"/>
                    </a:cubicBezTo>
                    <a:cubicBezTo>
                      <a:pt x="1431" y="442"/>
                      <a:pt x="1390" y="386"/>
                      <a:pt x="1331" y="365"/>
                    </a:cubicBezTo>
                    <a:cubicBezTo>
                      <a:pt x="1374" y="269"/>
                      <a:pt x="1374" y="269"/>
                      <a:pt x="1374" y="269"/>
                    </a:cubicBezTo>
                    <a:cubicBezTo>
                      <a:pt x="1375" y="270"/>
                      <a:pt x="1377" y="270"/>
                      <a:pt x="1378" y="270"/>
                    </a:cubicBezTo>
                    <a:cubicBezTo>
                      <a:pt x="1403" y="270"/>
                      <a:pt x="1423" y="249"/>
                      <a:pt x="1423" y="225"/>
                    </a:cubicBezTo>
                    <a:cubicBezTo>
                      <a:pt x="1423" y="200"/>
                      <a:pt x="1403" y="180"/>
                      <a:pt x="1378" y="180"/>
                    </a:cubicBezTo>
                    <a:cubicBezTo>
                      <a:pt x="1353" y="180"/>
                      <a:pt x="1333" y="200"/>
                      <a:pt x="1333" y="225"/>
                    </a:cubicBezTo>
                    <a:cubicBezTo>
                      <a:pt x="1333" y="242"/>
                      <a:pt x="1343" y="258"/>
                      <a:pt x="1358" y="265"/>
                    </a:cubicBezTo>
                    <a:cubicBezTo>
                      <a:pt x="1316" y="360"/>
                      <a:pt x="1316" y="360"/>
                      <a:pt x="1316" y="360"/>
                    </a:cubicBezTo>
                    <a:cubicBezTo>
                      <a:pt x="1304" y="358"/>
                      <a:pt x="1292" y="356"/>
                      <a:pt x="1279" y="356"/>
                    </a:cubicBezTo>
                    <a:cubicBezTo>
                      <a:pt x="1224" y="356"/>
                      <a:pt x="1176" y="385"/>
                      <a:pt x="1149" y="430"/>
                    </a:cubicBezTo>
                    <a:cubicBezTo>
                      <a:pt x="994" y="297"/>
                      <a:pt x="994" y="297"/>
                      <a:pt x="994" y="297"/>
                    </a:cubicBezTo>
                    <a:cubicBezTo>
                      <a:pt x="1006" y="280"/>
                      <a:pt x="1013" y="258"/>
                      <a:pt x="1013" y="235"/>
                    </a:cubicBezTo>
                    <a:cubicBezTo>
                      <a:pt x="1013" y="174"/>
                      <a:pt x="964" y="124"/>
                      <a:pt x="902" y="124"/>
                    </a:cubicBezTo>
                    <a:cubicBezTo>
                      <a:pt x="879" y="124"/>
                      <a:pt x="858" y="131"/>
                      <a:pt x="840" y="143"/>
                    </a:cubicBezTo>
                    <a:cubicBezTo>
                      <a:pt x="794" y="80"/>
                      <a:pt x="794" y="80"/>
                      <a:pt x="794" y="80"/>
                    </a:cubicBezTo>
                    <a:cubicBezTo>
                      <a:pt x="804" y="72"/>
                      <a:pt x="811" y="59"/>
                      <a:pt x="811" y="45"/>
                    </a:cubicBezTo>
                    <a:cubicBezTo>
                      <a:pt x="811" y="20"/>
                      <a:pt x="791" y="0"/>
                      <a:pt x="766" y="0"/>
                    </a:cubicBezTo>
                    <a:cubicBezTo>
                      <a:pt x="741" y="0"/>
                      <a:pt x="721" y="20"/>
                      <a:pt x="721" y="45"/>
                    </a:cubicBezTo>
                    <a:cubicBezTo>
                      <a:pt x="721" y="69"/>
                      <a:pt x="741" y="90"/>
                      <a:pt x="766" y="90"/>
                    </a:cubicBezTo>
                    <a:cubicBezTo>
                      <a:pt x="771" y="90"/>
                      <a:pt x="775" y="89"/>
                      <a:pt x="780" y="87"/>
                    </a:cubicBezTo>
                    <a:cubicBezTo>
                      <a:pt x="827" y="153"/>
                      <a:pt x="827" y="153"/>
                      <a:pt x="827" y="153"/>
                    </a:cubicBezTo>
                    <a:cubicBezTo>
                      <a:pt x="805" y="173"/>
                      <a:pt x="791" y="203"/>
                      <a:pt x="791" y="235"/>
                    </a:cubicBezTo>
                    <a:cubicBezTo>
                      <a:pt x="791" y="256"/>
                      <a:pt x="797" y="276"/>
                      <a:pt x="808" y="293"/>
                    </a:cubicBezTo>
                    <a:cubicBezTo>
                      <a:pt x="741" y="357"/>
                      <a:pt x="741" y="357"/>
                      <a:pt x="741" y="357"/>
                    </a:cubicBezTo>
                    <a:cubicBezTo>
                      <a:pt x="732" y="349"/>
                      <a:pt x="719" y="344"/>
                      <a:pt x="706" y="344"/>
                    </a:cubicBezTo>
                    <a:cubicBezTo>
                      <a:pt x="686" y="344"/>
                      <a:pt x="669" y="355"/>
                      <a:pt x="660" y="371"/>
                    </a:cubicBezTo>
                    <a:cubicBezTo>
                      <a:pt x="564" y="325"/>
                      <a:pt x="564" y="325"/>
                      <a:pt x="564" y="325"/>
                    </a:cubicBezTo>
                    <a:cubicBezTo>
                      <a:pt x="567" y="312"/>
                      <a:pt x="569" y="298"/>
                      <a:pt x="569" y="285"/>
                    </a:cubicBezTo>
                    <a:cubicBezTo>
                      <a:pt x="569" y="188"/>
                      <a:pt x="488" y="109"/>
                      <a:pt x="388" y="109"/>
                    </a:cubicBezTo>
                    <a:cubicBezTo>
                      <a:pt x="320" y="109"/>
                      <a:pt x="261" y="146"/>
                      <a:pt x="231" y="199"/>
                    </a:cubicBezTo>
                    <a:cubicBezTo>
                      <a:pt x="162" y="155"/>
                      <a:pt x="162" y="155"/>
                      <a:pt x="162" y="155"/>
                    </a:cubicBezTo>
                    <a:cubicBezTo>
                      <a:pt x="166" y="145"/>
                      <a:pt x="168" y="135"/>
                      <a:pt x="168" y="123"/>
                    </a:cubicBezTo>
                    <a:cubicBezTo>
                      <a:pt x="168" y="77"/>
                      <a:pt x="131" y="39"/>
                      <a:pt x="84" y="39"/>
                    </a:cubicBezTo>
                    <a:cubicBezTo>
                      <a:pt x="38" y="39"/>
                      <a:pt x="0" y="77"/>
                      <a:pt x="0" y="123"/>
                    </a:cubicBezTo>
                    <a:cubicBezTo>
                      <a:pt x="0" y="170"/>
                      <a:pt x="38" y="207"/>
                      <a:pt x="84" y="207"/>
                    </a:cubicBezTo>
                    <a:cubicBezTo>
                      <a:pt x="114" y="207"/>
                      <a:pt x="139" y="192"/>
                      <a:pt x="154" y="170"/>
                    </a:cubicBezTo>
                    <a:cubicBezTo>
                      <a:pt x="223" y="214"/>
                      <a:pt x="223" y="214"/>
                      <a:pt x="223" y="214"/>
                    </a:cubicBezTo>
                    <a:cubicBezTo>
                      <a:pt x="213" y="235"/>
                      <a:pt x="208" y="259"/>
                      <a:pt x="208" y="285"/>
                    </a:cubicBezTo>
                    <a:cubicBezTo>
                      <a:pt x="208" y="344"/>
                      <a:pt x="239" y="397"/>
                      <a:pt x="286" y="429"/>
                    </a:cubicBezTo>
                    <a:cubicBezTo>
                      <a:pt x="230" y="516"/>
                      <a:pt x="230" y="516"/>
                      <a:pt x="230" y="516"/>
                    </a:cubicBezTo>
                    <a:cubicBezTo>
                      <a:pt x="225" y="514"/>
                      <a:pt x="220" y="514"/>
                      <a:pt x="214" y="514"/>
                    </a:cubicBezTo>
                    <a:cubicBezTo>
                      <a:pt x="185" y="514"/>
                      <a:pt x="161" y="537"/>
                      <a:pt x="161" y="567"/>
                    </a:cubicBezTo>
                    <a:cubicBezTo>
                      <a:pt x="161" y="596"/>
                      <a:pt x="185" y="620"/>
                      <a:pt x="214" y="620"/>
                    </a:cubicBezTo>
                    <a:cubicBezTo>
                      <a:pt x="243" y="620"/>
                      <a:pt x="267" y="596"/>
                      <a:pt x="267" y="567"/>
                    </a:cubicBezTo>
                    <a:cubicBezTo>
                      <a:pt x="267" y="549"/>
                      <a:pt x="258" y="533"/>
                      <a:pt x="244" y="523"/>
                    </a:cubicBezTo>
                    <a:cubicBezTo>
                      <a:pt x="300" y="437"/>
                      <a:pt x="300" y="437"/>
                      <a:pt x="300" y="437"/>
                    </a:cubicBezTo>
                    <a:cubicBezTo>
                      <a:pt x="326" y="452"/>
                      <a:pt x="356" y="460"/>
                      <a:pt x="388" y="460"/>
                    </a:cubicBezTo>
                    <a:cubicBezTo>
                      <a:pt x="468" y="460"/>
                      <a:pt x="535" y="410"/>
                      <a:pt x="559" y="340"/>
                    </a:cubicBezTo>
                    <a:cubicBezTo>
                      <a:pt x="654" y="386"/>
                      <a:pt x="654" y="386"/>
                      <a:pt x="654" y="386"/>
                    </a:cubicBezTo>
                    <a:cubicBezTo>
                      <a:pt x="653" y="389"/>
                      <a:pt x="653" y="393"/>
                      <a:pt x="653" y="397"/>
                    </a:cubicBezTo>
                    <a:cubicBezTo>
                      <a:pt x="653" y="426"/>
                      <a:pt x="677" y="450"/>
                      <a:pt x="706" y="450"/>
                    </a:cubicBezTo>
                    <a:cubicBezTo>
                      <a:pt x="735" y="450"/>
                      <a:pt x="759" y="426"/>
                      <a:pt x="759" y="397"/>
                    </a:cubicBezTo>
                    <a:cubicBezTo>
                      <a:pt x="759" y="387"/>
                      <a:pt x="756" y="377"/>
                      <a:pt x="751" y="369"/>
                    </a:cubicBezTo>
                    <a:cubicBezTo>
                      <a:pt x="817" y="306"/>
                      <a:pt x="817" y="306"/>
                      <a:pt x="817" y="306"/>
                    </a:cubicBezTo>
                    <a:cubicBezTo>
                      <a:pt x="838" y="331"/>
                      <a:pt x="868" y="346"/>
                      <a:pt x="902" y="346"/>
                    </a:cubicBezTo>
                    <a:cubicBezTo>
                      <a:pt x="935" y="346"/>
                      <a:pt x="964" y="332"/>
                      <a:pt x="984" y="310"/>
                    </a:cubicBezTo>
                    <a:cubicBezTo>
                      <a:pt x="1141" y="444"/>
                      <a:pt x="1141" y="444"/>
                      <a:pt x="1141" y="444"/>
                    </a:cubicBezTo>
                    <a:cubicBezTo>
                      <a:pt x="1132" y="463"/>
                      <a:pt x="1127" y="485"/>
                      <a:pt x="1127" y="508"/>
                    </a:cubicBezTo>
                    <a:cubicBezTo>
                      <a:pt x="1127" y="520"/>
                      <a:pt x="1129" y="532"/>
                      <a:pt x="1132" y="544"/>
                    </a:cubicBezTo>
                    <a:cubicBezTo>
                      <a:pt x="1068" y="567"/>
                      <a:pt x="1068" y="567"/>
                      <a:pt x="1068" y="567"/>
                    </a:cubicBezTo>
                    <a:cubicBezTo>
                      <a:pt x="1060" y="553"/>
                      <a:pt x="1045" y="544"/>
                      <a:pt x="1028" y="544"/>
                    </a:cubicBezTo>
                    <a:cubicBezTo>
                      <a:pt x="1003" y="544"/>
                      <a:pt x="983" y="564"/>
                      <a:pt x="983" y="589"/>
                    </a:cubicBezTo>
                    <a:cubicBezTo>
                      <a:pt x="983" y="613"/>
                      <a:pt x="1003" y="634"/>
                      <a:pt x="1028" y="634"/>
                    </a:cubicBezTo>
                    <a:cubicBezTo>
                      <a:pt x="1053" y="634"/>
                      <a:pt x="1073" y="613"/>
                      <a:pt x="1073" y="589"/>
                    </a:cubicBezTo>
                    <a:cubicBezTo>
                      <a:pt x="1073" y="587"/>
                      <a:pt x="1073" y="585"/>
                      <a:pt x="1073" y="583"/>
                    </a:cubicBezTo>
                    <a:cubicBezTo>
                      <a:pt x="1136" y="559"/>
                      <a:pt x="1136" y="559"/>
                      <a:pt x="1136" y="559"/>
                    </a:cubicBezTo>
                    <a:cubicBezTo>
                      <a:pt x="1157" y="618"/>
                      <a:pt x="1213" y="660"/>
                      <a:pt x="1279" y="660"/>
                    </a:cubicBezTo>
                    <a:cubicBezTo>
                      <a:pt x="1300" y="660"/>
                      <a:pt x="1320" y="656"/>
                      <a:pt x="1339" y="648"/>
                    </a:cubicBezTo>
                    <a:cubicBezTo>
                      <a:pt x="1356" y="677"/>
                      <a:pt x="1356" y="677"/>
                      <a:pt x="1356" y="677"/>
                    </a:cubicBezTo>
                    <a:cubicBezTo>
                      <a:pt x="1347" y="685"/>
                      <a:pt x="1341" y="697"/>
                      <a:pt x="1341" y="711"/>
                    </a:cubicBezTo>
                    <a:cubicBezTo>
                      <a:pt x="1341" y="735"/>
                      <a:pt x="1361" y="756"/>
                      <a:pt x="1386" y="756"/>
                    </a:cubicBezTo>
                    <a:cubicBezTo>
                      <a:pt x="1411" y="756"/>
                      <a:pt x="1431" y="735"/>
                      <a:pt x="1431" y="711"/>
                    </a:cubicBezTo>
                    <a:cubicBezTo>
                      <a:pt x="1431" y="686"/>
                      <a:pt x="1411" y="666"/>
                      <a:pt x="1386" y="666"/>
                    </a:cubicBezTo>
                    <a:cubicBezTo>
                      <a:pt x="1380" y="666"/>
                      <a:pt x="1375" y="667"/>
                      <a:pt x="1370" y="669"/>
                    </a:cubicBezTo>
                    <a:cubicBezTo>
                      <a:pt x="1353" y="641"/>
                      <a:pt x="1353" y="641"/>
                      <a:pt x="1353" y="641"/>
                    </a:cubicBezTo>
                    <a:cubicBezTo>
                      <a:pt x="1387" y="622"/>
                      <a:pt x="1413" y="590"/>
                      <a:pt x="1425" y="552"/>
                    </a:cubicBezTo>
                    <a:cubicBezTo>
                      <a:pt x="1665" y="592"/>
                      <a:pt x="1665" y="592"/>
                      <a:pt x="1665" y="592"/>
                    </a:cubicBezTo>
                    <a:cubicBezTo>
                      <a:pt x="1662" y="611"/>
                      <a:pt x="1660" y="631"/>
                      <a:pt x="1660" y="651"/>
                    </a:cubicBezTo>
                    <a:cubicBezTo>
                      <a:pt x="1660" y="841"/>
                      <a:pt x="1814" y="996"/>
                      <a:pt x="2005" y="996"/>
                    </a:cubicBezTo>
                    <a:cubicBezTo>
                      <a:pt x="2196" y="996"/>
                      <a:pt x="2350" y="841"/>
                      <a:pt x="2350" y="651"/>
                    </a:cubicBezTo>
                    <a:cubicBezTo>
                      <a:pt x="2350" y="620"/>
                      <a:pt x="2346" y="591"/>
                      <a:pt x="2338" y="562"/>
                    </a:cubicBezTo>
                    <a:cubicBezTo>
                      <a:pt x="2562" y="420"/>
                      <a:pt x="2562" y="420"/>
                      <a:pt x="2562" y="420"/>
                    </a:cubicBezTo>
                    <a:cubicBezTo>
                      <a:pt x="2591" y="456"/>
                      <a:pt x="2635" y="480"/>
                      <a:pt x="2685" y="480"/>
                    </a:cubicBezTo>
                    <a:cubicBezTo>
                      <a:pt x="2700" y="480"/>
                      <a:pt x="2715" y="478"/>
                      <a:pt x="2728" y="474"/>
                    </a:cubicBezTo>
                    <a:cubicBezTo>
                      <a:pt x="2757" y="535"/>
                      <a:pt x="2757" y="535"/>
                      <a:pt x="2757" y="535"/>
                    </a:cubicBezTo>
                    <a:cubicBezTo>
                      <a:pt x="2728" y="548"/>
                      <a:pt x="2708" y="577"/>
                      <a:pt x="2708" y="611"/>
                    </a:cubicBezTo>
                    <a:cubicBezTo>
                      <a:pt x="2708" y="658"/>
                      <a:pt x="2746" y="695"/>
                      <a:pt x="2792" y="695"/>
                    </a:cubicBezTo>
                    <a:cubicBezTo>
                      <a:pt x="2839" y="695"/>
                      <a:pt x="2876" y="658"/>
                      <a:pt x="2876" y="611"/>
                    </a:cubicBezTo>
                    <a:cubicBezTo>
                      <a:pt x="2876" y="565"/>
                      <a:pt x="2839" y="527"/>
                      <a:pt x="2792" y="527"/>
                    </a:cubicBezTo>
                    <a:cubicBezTo>
                      <a:pt x="2786" y="527"/>
                      <a:pt x="2779" y="528"/>
                      <a:pt x="2773" y="530"/>
                    </a:cubicBezTo>
                    <a:cubicBezTo>
                      <a:pt x="2743" y="469"/>
                      <a:pt x="2743" y="469"/>
                      <a:pt x="2743" y="469"/>
                    </a:cubicBezTo>
                    <a:cubicBezTo>
                      <a:pt x="2783" y="453"/>
                      <a:pt x="2815" y="420"/>
                      <a:pt x="2831" y="380"/>
                    </a:cubicBezTo>
                    <a:cubicBezTo>
                      <a:pt x="2989" y="429"/>
                      <a:pt x="2989" y="429"/>
                      <a:pt x="2989" y="429"/>
                    </a:cubicBezTo>
                    <a:cubicBezTo>
                      <a:pt x="2986" y="442"/>
                      <a:pt x="2984" y="456"/>
                      <a:pt x="2984" y="471"/>
                    </a:cubicBezTo>
                    <a:cubicBezTo>
                      <a:pt x="2984" y="539"/>
                      <a:pt x="3026" y="597"/>
                      <a:pt x="3085" y="622"/>
                    </a:cubicBezTo>
                    <a:cubicBezTo>
                      <a:pt x="3029" y="789"/>
                      <a:pt x="3029" y="789"/>
                      <a:pt x="3029" y="789"/>
                    </a:cubicBezTo>
                    <a:cubicBezTo>
                      <a:pt x="3026" y="788"/>
                      <a:pt x="3023" y="788"/>
                      <a:pt x="3020" y="788"/>
                    </a:cubicBezTo>
                    <a:cubicBezTo>
                      <a:pt x="2995" y="788"/>
                      <a:pt x="2975" y="808"/>
                      <a:pt x="2975" y="833"/>
                    </a:cubicBezTo>
                    <a:cubicBezTo>
                      <a:pt x="2975" y="857"/>
                      <a:pt x="2995" y="878"/>
                      <a:pt x="3020" y="878"/>
                    </a:cubicBezTo>
                    <a:cubicBezTo>
                      <a:pt x="3045" y="878"/>
                      <a:pt x="3065" y="857"/>
                      <a:pt x="3065" y="833"/>
                    </a:cubicBezTo>
                    <a:cubicBezTo>
                      <a:pt x="3065" y="817"/>
                      <a:pt x="3057" y="803"/>
                      <a:pt x="3044" y="795"/>
                    </a:cubicBezTo>
                    <a:cubicBezTo>
                      <a:pt x="3100" y="627"/>
                      <a:pt x="3100" y="627"/>
                      <a:pt x="3100" y="627"/>
                    </a:cubicBezTo>
                    <a:cubicBezTo>
                      <a:pt x="3115" y="631"/>
                      <a:pt x="3131" y="634"/>
                      <a:pt x="3147" y="634"/>
                    </a:cubicBezTo>
                    <a:cubicBezTo>
                      <a:pt x="3198" y="634"/>
                      <a:pt x="3243" y="611"/>
                      <a:pt x="3273" y="575"/>
                    </a:cubicBezTo>
                    <a:cubicBezTo>
                      <a:pt x="3459" y="656"/>
                      <a:pt x="3459" y="656"/>
                      <a:pt x="3459" y="656"/>
                    </a:cubicBezTo>
                    <a:cubicBezTo>
                      <a:pt x="3457" y="662"/>
                      <a:pt x="3456" y="669"/>
                      <a:pt x="3456" y="675"/>
                    </a:cubicBezTo>
                    <a:cubicBezTo>
                      <a:pt x="3456" y="722"/>
                      <a:pt x="3494" y="759"/>
                      <a:pt x="3540" y="759"/>
                    </a:cubicBezTo>
                    <a:cubicBezTo>
                      <a:pt x="3587" y="759"/>
                      <a:pt x="3624" y="722"/>
                      <a:pt x="3624" y="675"/>
                    </a:cubicBezTo>
                    <a:cubicBezTo>
                      <a:pt x="3624" y="629"/>
                      <a:pt x="3587" y="591"/>
                      <a:pt x="3540" y="591"/>
                    </a:cubicBezTo>
                    <a:cubicBezTo>
                      <a:pt x="3506" y="591"/>
                      <a:pt x="3477" y="612"/>
                      <a:pt x="3464" y="641"/>
                    </a:cubicBezTo>
                    <a:cubicBezTo>
                      <a:pt x="3283" y="562"/>
                      <a:pt x="3283" y="562"/>
                      <a:pt x="3283" y="562"/>
                    </a:cubicBezTo>
                    <a:cubicBezTo>
                      <a:pt x="3300" y="536"/>
                      <a:pt x="3311" y="504"/>
                      <a:pt x="3311" y="471"/>
                    </a:cubicBezTo>
                    <a:cubicBezTo>
                      <a:pt x="3311" y="460"/>
                      <a:pt x="3310" y="450"/>
                      <a:pt x="3308" y="440"/>
                    </a:cubicBezTo>
                    <a:cubicBezTo>
                      <a:pt x="3401" y="429"/>
                      <a:pt x="3401" y="429"/>
                      <a:pt x="3401" y="429"/>
                    </a:cubicBezTo>
                    <a:cubicBezTo>
                      <a:pt x="3408" y="445"/>
                      <a:pt x="3424" y="456"/>
                      <a:pt x="3442" y="456"/>
                    </a:cubicBezTo>
                    <a:cubicBezTo>
                      <a:pt x="3467" y="456"/>
                      <a:pt x="3487" y="435"/>
                      <a:pt x="3487" y="411"/>
                    </a:cubicBezTo>
                    <a:cubicBezTo>
                      <a:pt x="3487" y="400"/>
                      <a:pt x="3483" y="390"/>
                      <a:pt x="3477" y="382"/>
                    </a:cubicBezTo>
                    <a:cubicBezTo>
                      <a:pt x="3551" y="280"/>
                      <a:pt x="3551" y="280"/>
                      <a:pt x="3551" y="280"/>
                    </a:cubicBezTo>
                    <a:cubicBezTo>
                      <a:pt x="3571" y="291"/>
                      <a:pt x="3594" y="298"/>
                      <a:pt x="3618" y="298"/>
                    </a:cubicBezTo>
                    <a:cubicBezTo>
                      <a:pt x="3662" y="298"/>
                      <a:pt x="3702" y="277"/>
                      <a:pt x="3726" y="244"/>
                    </a:cubicBezTo>
                    <a:cubicBezTo>
                      <a:pt x="3856" y="333"/>
                      <a:pt x="3856" y="333"/>
                      <a:pt x="3856" y="333"/>
                    </a:cubicBezTo>
                    <a:cubicBezTo>
                      <a:pt x="3850" y="344"/>
                      <a:pt x="3846" y="357"/>
                      <a:pt x="3846" y="371"/>
                    </a:cubicBezTo>
                    <a:cubicBezTo>
                      <a:pt x="3846" y="418"/>
                      <a:pt x="3884" y="455"/>
                      <a:pt x="3930" y="455"/>
                    </a:cubicBezTo>
                    <a:cubicBezTo>
                      <a:pt x="3977" y="455"/>
                      <a:pt x="4014" y="418"/>
                      <a:pt x="4014" y="371"/>
                    </a:cubicBezTo>
                    <a:cubicBezTo>
                      <a:pt x="4014" y="325"/>
                      <a:pt x="3977" y="287"/>
                      <a:pt x="3930" y="287"/>
                    </a:cubicBezTo>
                    <a:close/>
                    <a:moveTo>
                      <a:pt x="2796" y="42"/>
                    </a:moveTo>
                    <a:cubicBezTo>
                      <a:pt x="2808" y="42"/>
                      <a:pt x="2818" y="52"/>
                      <a:pt x="2818" y="65"/>
                    </a:cubicBezTo>
                    <a:cubicBezTo>
                      <a:pt x="2818" y="77"/>
                      <a:pt x="2808" y="87"/>
                      <a:pt x="2796" y="87"/>
                    </a:cubicBezTo>
                    <a:cubicBezTo>
                      <a:pt x="2784" y="87"/>
                      <a:pt x="2774" y="77"/>
                      <a:pt x="2774" y="65"/>
                    </a:cubicBezTo>
                    <a:cubicBezTo>
                      <a:pt x="2774" y="52"/>
                      <a:pt x="2784" y="42"/>
                      <a:pt x="2796" y="42"/>
                    </a:cubicBezTo>
                    <a:close/>
                    <a:moveTo>
                      <a:pt x="2536" y="134"/>
                    </a:moveTo>
                    <a:cubicBezTo>
                      <a:pt x="2536" y="125"/>
                      <a:pt x="2543" y="118"/>
                      <a:pt x="2552" y="118"/>
                    </a:cubicBezTo>
                    <a:cubicBezTo>
                      <a:pt x="2561" y="118"/>
                      <a:pt x="2569" y="125"/>
                      <a:pt x="2569" y="134"/>
                    </a:cubicBezTo>
                    <a:cubicBezTo>
                      <a:pt x="2569" y="143"/>
                      <a:pt x="2561" y="150"/>
                      <a:pt x="2552" y="150"/>
                    </a:cubicBezTo>
                    <a:cubicBezTo>
                      <a:pt x="2543" y="150"/>
                      <a:pt x="2536" y="143"/>
                      <a:pt x="2536" y="134"/>
                    </a:cubicBezTo>
                    <a:close/>
                    <a:moveTo>
                      <a:pt x="1378" y="202"/>
                    </a:moveTo>
                    <a:cubicBezTo>
                      <a:pt x="1390" y="202"/>
                      <a:pt x="1400" y="212"/>
                      <a:pt x="1400" y="225"/>
                    </a:cubicBezTo>
                    <a:cubicBezTo>
                      <a:pt x="1400" y="237"/>
                      <a:pt x="1390" y="247"/>
                      <a:pt x="1378" y="247"/>
                    </a:cubicBezTo>
                    <a:cubicBezTo>
                      <a:pt x="1366" y="247"/>
                      <a:pt x="1356" y="237"/>
                      <a:pt x="1356" y="225"/>
                    </a:cubicBezTo>
                    <a:cubicBezTo>
                      <a:pt x="1356" y="212"/>
                      <a:pt x="1366" y="202"/>
                      <a:pt x="1378" y="202"/>
                    </a:cubicBezTo>
                    <a:close/>
                    <a:moveTo>
                      <a:pt x="744" y="45"/>
                    </a:moveTo>
                    <a:cubicBezTo>
                      <a:pt x="744" y="32"/>
                      <a:pt x="754" y="22"/>
                      <a:pt x="766" y="22"/>
                    </a:cubicBezTo>
                    <a:cubicBezTo>
                      <a:pt x="778" y="22"/>
                      <a:pt x="788" y="32"/>
                      <a:pt x="788" y="45"/>
                    </a:cubicBezTo>
                    <a:cubicBezTo>
                      <a:pt x="788" y="57"/>
                      <a:pt x="778" y="67"/>
                      <a:pt x="766" y="67"/>
                    </a:cubicBezTo>
                    <a:cubicBezTo>
                      <a:pt x="754" y="67"/>
                      <a:pt x="744" y="57"/>
                      <a:pt x="744" y="45"/>
                    </a:cubicBezTo>
                    <a:close/>
                    <a:moveTo>
                      <a:pt x="84" y="166"/>
                    </a:moveTo>
                    <a:cubicBezTo>
                      <a:pt x="61" y="166"/>
                      <a:pt x="42" y="147"/>
                      <a:pt x="42" y="123"/>
                    </a:cubicBezTo>
                    <a:cubicBezTo>
                      <a:pt x="42" y="100"/>
                      <a:pt x="61" y="81"/>
                      <a:pt x="84" y="81"/>
                    </a:cubicBezTo>
                    <a:cubicBezTo>
                      <a:pt x="108" y="81"/>
                      <a:pt x="127" y="100"/>
                      <a:pt x="127" y="123"/>
                    </a:cubicBezTo>
                    <a:cubicBezTo>
                      <a:pt x="127" y="147"/>
                      <a:pt x="108" y="166"/>
                      <a:pt x="84" y="166"/>
                    </a:cubicBezTo>
                    <a:close/>
                    <a:moveTo>
                      <a:pt x="214" y="593"/>
                    </a:moveTo>
                    <a:cubicBezTo>
                      <a:pt x="199" y="593"/>
                      <a:pt x="188" y="581"/>
                      <a:pt x="188" y="567"/>
                    </a:cubicBezTo>
                    <a:cubicBezTo>
                      <a:pt x="188" y="552"/>
                      <a:pt x="199" y="540"/>
                      <a:pt x="214" y="540"/>
                    </a:cubicBezTo>
                    <a:cubicBezTo>
                      <a:pt x="229" y="540"/>
                      <a:pt x="240" y="552"/>
                      <a:pt x="240" y="567"/>
                    </a:cubicBezTo>
                    <a:cubicBezTo>
                      <a:pt x="240" y="581"/>
                      <a:pt x="229" y="593"/>
                      <a:pt x="214" y="593"/>
                    </a:cubicBezTo>
                    <a:close/>
                    <a:moveTo>
                      <a:pt x="388" y="385"/>
                    </a:moveTo>
                    <a:cubicBezTo>
                      <a:pt x="330" y="385"/>
                      <a:pt x="282" y="339"/>
                      <a:pt x="282" y="282"/>
                    </a:cubicBezTo>
                    <a:cubicBezTo>
                      <a:pt x="282" y="225"/>
                      <a:pt x="330" y="179"/>
                      <a:pt x="388" y="179"/>
                    </a:cubicBezTo>
                    <a:cubicBezTo>
                      <a:pt x="447" y="179"/>
                      <a:pt x="494" y="225"/>
                      <a:pt x="494" y="282"/>
                    </a:cubicBezTo>
                    <a:cubicBezTo>
                      <a:pt x="494" y="339"/>
                      <a:pt x="447" y="385"/>
                      <a:pt x="388" y="385"/>
                    </a:cubicBezTo>
                    <a:close/>
                    <a:moveTo>
                      <a:pt x="706" y="423"/>
                    </a:moveTo>
                    <a:cubicBezTo>
                      <a:pt x="691" y="423"/>
                      <a:pt x="680" y="411"/>
                      <a:pt x="680" y="397"/>
                    </a:cubicBezTo>
                    <a:cubicBezTo>
                      <a:pt x="680" y="382"/>
                      <a:pt x="691" y="370"/>
                      <a:pt x="706" y="370"/>
                    </a:cubicBezTo>
                    <a:cubicBezTo>
                      <a:pt x="721" y="370"/>
                      <a:pt x="732" y="382"/>
                      <a:pt x="732" y="397"/>
                    </a:cubicBezTo>
                    <a:cubicBezTo>
                      <a:pt x="732" y="411"/>
                      <a:pt x="721" y="423"/>
                      <a:pt x="706" y="423"/>
                    </a:cubicBezTo>
                    <a:close/>
                    <a:moveTo>
                      <a:pt x="902" y="298"/>
                    </a:moveTo>
                    <a:cubicBezTo>
                      <a:pt x="866" y="298"/>
                      <a:pt x="837" y="269"/>
                      <a:pt x="837" y="233"/>
                    </a:cubicBezTo>
                    <a:cubicBezTo>
                      <a:pt x="837" y="197"/>
                      <a:pt x="866" y="168"/>
                      <a:pt x="902" y="168"/>
                    </a:cubicBezTo>
                    <a:cubicBezTo>
                      <a:pt x="938" y="168"/>
                      <a:pt x="967" y="197"/>
                      <a:pt x="967" y="233"/>
                    </a:cubicBezTo>
                    <a:cubicBezTo>
                      <a:pt x="967" y="269"/>
                      <a:pt x="938" y="298"/>
                      <a:pt x="902" y="298"/>
                    </a:cubicBezTo>
                    <a:close/>
                    <a:moveTo>
                      <a:pt x="1028" y="611"/>
                    </a:moveTo>
                    <a:cubicBezTo>
                      <a:pt x="1016" y="611"/>
                      <a:pt x="1006" y="601"/>
                      <a:pt x="1006" y="589"/>
                    </a:cubicBezTo>
                    <a:cubicBezTo>
                      <a:pt x="1006" y="576"/>
                      <a:pt x="1016" y="566"/>
                      <a:pt x="1028" y="566"/>
                    </a:cubicBezTo>
                    <a:cubicBezTo>
                      <a:pt x="1040" y="566"/>
                      <a:pt x="1050" y="576"/>
                      <a:pt x="1050" y="589"/>
                    </a:cubicBezTo>
                    <a:cubicBezTo>
                      <a:pt x="1050" y="601"/>
                      <a:pt x="1040" y="611"/>
                      <a:pt x="1028" y="611"/>
                    </a:cubicBezTo>
                    <a:close/>
                    <a:moveTo>
                      <a:pt x="1408" y="711"/>
                    </a:moveTo>
                    <a:cubicBezTo>
                      <a:pt x="1408" y="723"/>
                      <a:pt x="1398" y="733"/>
                      <a:pt x="1386" y="733"/>
                    </a:cubicBezTo>
                    <a:cubicBezTo>
                      <a:pt x="1374" y="733"/>
                      <a:pt x="1364" y="723"/>
                      <a:pt x="1364" y="711"/>
                    </a:cubicBezTo>
                    <a:cubicBezTo>
                      <a:pt x="1364" y="698"/>
                      <a:pt x="1374" y="688"/>
                      <a:pt x="1386" y="688"/>
                    </a:cubicBezTo>
                    <a:cubicBezTo>
                      <a:pt x="1398" y="688"/>
                      <a:pt x="1408" y="698"/>
                      <a:pt x="1408" y="711"/>
                    </a:cubicBezTo>
                    <a:close/>
                    <a:moveTo>
                      <a:pt x="1279" y="595"/>
                    </a:moveTo>
                    <a:cubicBezTo>
                      <a:pt x="1230" y="595"/>
                      <a:pt x="1190" y="555"/>
                      <a:pt x="1190" y="506"/>
                    </a:cubicBezTo>
                    <a:cubicBezTo>
                      <a:pt x="1190" y="456"/>
                      <a:pt x="1230" y="416"/>
                      <a:pt x="1279" y="416"/>
                    </a:cubicBezTo>
                    <a:cubicBezTo>
                      <a:pt x="1328" y="416"/>
                      <a:pt x="1368" y="456"/>
                      <a:pt x="1368" y="506"/>
                    </a:cubicBezTo>
                    <a:cubicBezTo>
                      <a:pt x="1368" y="555"/>
                      <a:pt x="1328" y="595"/>
                      <a:pt x="1279" y="595"/>
                    </a:cubicBezTo>
                    <a:close/>
                    <a:moveTo>
                      <a:pt x="2005" y="866"/>
                    </a:moveTo>
                    <a:cubicBezTo>
                      <a:pt x="1885" y="866"/>
                      <a:pt x="1788" y="769"/>
                      <a:pt x="1788" y="649"/>
                    </a:cubicBezTo>
                    <a:cubicBezTo>
                      <a:pt x="1788" y="529"/>
                      <a:pt x="1885" y="432"/>
                      <a:pt x="2005" y="432"/>
                    </a:cubicBezTo>
                    <a:cubicBezTo>
                      <a:pt x="2125" y="432"/>
                      <a:pt x="2222" y="529"/>
                      <a:pt x="2222" y="649"/>
                    </a:cubicBezTo>
                    <a:cubicBezTo>
                      <a:pt x="2222" y="769"/>
                      <a:pt x="2125" y="866"/>
                      <a:pt x="2005" y="866"/>
                    </a:cubicBezTo>
                    <a:close/>
                    <a:moveTo>
                      <a:pt x="2835" y="611"/>
                    </a:moveTo>
                    <a:cubicBezTo>
                      <a:pt x="2835" y="635"/>
                      <a:pt x="2816" y="654"/>
                      <a:pt x="2792" y="654"/>
                    </a:cubicBezTo>
                    <a:cubicBezTo>
                      <a:pt x="2769" y="654"/>
                      <a:pt x="2750" y="635"/>
                      <a:pt x="2750" y="611"/>
                    </a:cubicBezTo>
                    <a:cubicBezTo>
                      <a:pt x="2750" y="588"/>
                      <a:pt x="2769" y="569"/>
                      <a:pt x="2792" y="569"/>
                    </a:cubicBezTo>
                    <a:cubicBezTo>
                      <a:pt x="2816" y="569"/>
                      <a:pt x="2835" y="588"/>
                      <a:pt x="2835" y="611"/>
                    </a:cubicBezTo>
                    <a:close/>
                    <a:moveTo>
                      <a:pt x="2685" y="413"/>
                    </a:moveTo>
                    <a:cubicBezTo>
                      <a:pt x="2635" y="413"/>
                      <a:pt x="2594" y="372"/>
                      <a:pt x="2594" y="321"/>
                    </a:cubicBezTo>
                    <a:cubicBezTo>
                      <a:pt x="2594" y="271"/>
                      <a:pt x="2635" y="230"/>
                      <a:pt x="2685" y="230"/>
                    </a:cubicBezTo>
                    <a:cubicBezTo>
                      <a:pt x="2736" y="230"/>
                      <a:pt x="2777" y="271"/>
                      <a:pt x="2777" y="321"/>
                    </a:cubicBezTo>
                    <a:cubicBezTo>
                      <a:pt x="2777" y="372"/>
                      <a:pt x="2736" y="413"/>
                      <a:pt x="2685" y="413"/>
                    </a:cubicBezTo>
                    <a:close/>
                    <a:moveTo>
                      <a:pt x="3020" y="855"/>
                    </a:moveTo>
                    <a:cubicBezTo>
                      <a:pt x="3008" y="855"/>
                      <a:pt x="2998" y="845"/>
                      <a:pt x="2998" y="833"/>
                    </a:cubicBezTo>
                    <a:cubicBezTo>
                      <a:pt x="2998" y="820"/>
                      <a:pt x="3008" y="810"/>
                      <a:pt x="3020" y="810"/>
                    </a:cubicBezTo>
                    <a:cubicBezTo>
                      <a:pt x="3032" y="810"/>
                      <a:pt x="3042" y="820"/>
                      <a:pt x="3042" y="833"/>
                    </a:cubicBezTo>
                    <a:cubicBezTo>
                      <a:pt x="3042" y="845"/>
                      <a:pt x="3032" y="855"/>
                      <a:pt x="3020" y="855"/>
                    </a:cubicBezTo>
                    <a:close/>
                    <a:moveTo>
                      <a:pt x="3147" y="564"/>
                    </a:moveTo>
                    <a:cubicBezTo>
                      <a:pt x="3094" y="564"/>
                      <a:pt x="3051" y="521"/>
                      <a:pt x="3051" y="468"/>
                    </a:cubicBezTo>
                    <a:cubicBezTo>
                      <a:pt x="3051" y="415"/>
                      <a:pt x="3094" y="372"/>
                      <a:pt x="3147" y="372"/>
                    </a:cubicBezTo>
                    <a:cubicBezTo>
                      <a:pt x="3200" y="372"/>
                      <a:pt x="3243" y="415"/>
                      <a:pt x="3243" y="468"/>
                    </a:cubicBezTo>
                    <a:cubicBezTo>
                      <a:pt x="3243" y="521"/>
                      <a:pt x="3200" y="564"/>
                      <a:pt x="3147" y="564"/>
                    </a:cubicBezTo>
                    <a:close/>
                    <a:moveTo>
                      <a:pt x="3540" y="633"/>
                    </a:moveTo>
                    <a:cubicBezTo>
                      <a:pt x="3564" y="633"/>
                      <a:pt x="3583" y="652"/>
                      <a:pt x="3583" y="675"/>
                    </a:cubicBezTo>
                    <a:cubicBezTo>
                      <a:pt x="3583" y="699"/>
                      <a:pt x="3564" y="718"/>
                      <a:pt x="3540" y="718"/>
                    </a:cubicBezTo>
                    <a:cubicBezTo>
                      <a:pt x="3517" y="718"/>
                      <a:pt x="3498" y="699"/>
                      <a:pt x="3498" y="675"/>
                    </a:cubicBezTo>
                    <a:cubicBezTo>
                      <a:pt x="3498" y="652"/>
                      <a:pt x="3517" y="633"/>
                      <a:pt x="3540" y="633"/>
                    </a:cubicBezTo>
                    <a:close/>
                    <a:moveTo>
                      <a:pt x="3442" y="433"/>
                    </a:moveTo>
                    <a:cubicBezTo>
                      <a:pt x="3430" y="433"/>
                      <a:pt x="3420" y="423"/>
                      <a:pt x="3420" y="411"/>
                    </a:cubicBezTo>
                    <a:cubicBezTo>
                      <a:pt x="3420" y="398"/>
                      <a:pt x="3430" y="388"/>
                      <a:pt x="3442" y="388"/>
                    </a:cubicBezTo>
                    <a:cubicBezTo>
                      <a:pt x="3454" y="388"/>
                      <a:pt x="3464" y="398"/>
                      <a:pt x="3464" y="411"/>
                    </a:cubicBezTo>
                    <a:cubicBezTo>
                      <a:pt x="3464" y="423"/>
                      <a:pt x="3454" y="433"/>
                      <a:pt x="3442" y="433"/>
                    </a:cubicBezTo>
                    <a:close/>
                    <a:moveTo>
                      <a:pt x="3618" y="240"/>
                    </a:moveTo>
                    <a:cubicBezTo>
                      <a:pt x="3575" y="240"/>
                      <a:pt x="3539" y="205"/>
                      <a:pt x="3539" y="161"/>
                    </a:cubicBezTo>
                    <a:cubicBezTo>
                      <a:pt x="3539" y="117"/>
                      <a:pt x="3575" y="82"/>
                      <a:pt x="3618" y="82"/>
                    </a:cubicBezTo>
                    <a:cubicBezTo>
                      <a:pt x="3662" y="82"/>
                      <a:pt x="3697" y="117"/>
                      <a:pt x="3697" y="161"/>
                    </a:cubicBezTo>
                    <a:cubicBezTo>
                      <a:pt x="3697" y="205"/>
                      <a:pt x="3662" y="240"/>
                      <a:pt x="3618" y="240"/>
                    </a:cubicBezTo>
                    <a:close/>
                    <a:moveTo>
                      <a:pt x="3930" y="414"/>
                    </a:moveTo>
                    <a:cubicBezTo>
                      <a:pt x="3907" y="414"/>
                      <a:pt x="3888" y="395"/>
                      <a:pt x="3888" y="371"/>
                    </a:cubicBezTo>
                    <a:cubicBezTo>
                      <a:pt x="3888" y="348"/>
                      <a:pt x="3907" y="329"/>
                      <a:pt x="3930" y="329"/>
                    </a:cubicBezTo>
                    <a:cubicBezTo>
                      <a:pt x="3954" y="329"/>
                      <a:pt x="3973" y="348"/>
                      <a:pt x="3973" y="371"/>
                    </a:cubicBezTo>
                    <a:cubicBezTo>
                      <a:pt x="3973" y="395"/>
                      <a:pt x="3954" y="414"/>
                      <a:pt x="3930" y="414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Aptos" panose="020B0004020202020204" pitchFamily="34" charset="0"/>
                </a:endParaRPr>
              </a:p>
            </p:txBody>
          </p:sp>
          <p:sp>
            <p:nvSpPr>
              <p:cNvPr id="41" name="Oval 6"/>
              <p:cNvSpPr>
                <a:spLocks noChangeArrowheads="1"/>
              </p:cNvSpPr>
              <p:nvPr userDrawn="1"/>
            </p:nvSpPr>
            <p:spPr bwMode="auto">
              <a:xfrm>
                <a:off x="5694363" y="4705350"/>
                <a:ext cx="782638" cy="781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Aptos" panose="020B0004020202020204" pitchFamily="34" charset="0"/>
                </a:endParaRPr>
              </a:p>
            </p:txBody>
          </p:sp>
        </p:grpSp>
        <p:sp>
          <p:nvSpPr>
            <p:cNvPr id="43" name="Rechteck 42"/>
            <p:cNvSpPr/>
            <p:nvPr userDrawn="1"/>
          </p:nvSpPr>
          <p:spPr>
            <a:xfrm>
              <a:off x="-12139" y="0"/>
              <a:ext cx="12296726" cy="6858000"/>
            </a:xfrm>
            <a:prstGeom prst="rect">
              <a:avLst/>
            </a:prstGeom>
            <a:gradFill flip="none" rotWithShape="0">
              <a:gsLst>
                <a:gs pos="0">
                  <a:schemeClr val="tx1">
                    <a:alpha val="90000"/>
                  </a:schemeClr>
                </a:gs>
                <a:gs pos="50000">
                  <a:schemeClr val="tx1">
                    <a:lumMod val="85000"/>
                    <a:lumOff val="15000"/>
                    <a:alpha val="50000"/>
                  </a:schemeClr>
                </a:gs>
                <a:gs pos="100000">
                  <a:schemeClr val="tx1">
                    <a:lumMod val="65000"/>
                    <a:lumOff val="35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44" name="Rechteck 43"/>
            <p:cNvSpPr/>
            <p:nvPr userDrawn="1"/>
          </p:nvSpPr>
          <p:spPr>
            <a:xfrm>
              <a:off x="-12139" y="5817351"/>
              <a:ext cx="12202551" cy="10525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ptos" panose="020B0004020202020204" pitchFamily="34" charset="0"/>
              </a:endParaRPr>
            </a:p>
          </p:txBody>
        </p:sp>
      </p:grpSp>
      <p:sp>
        <p:nvSpPr>
          <p:cNvPr id="10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44376" y="4"/>
            <a:ext cx="10101664" cy="374144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800" b="0" cap="all">
                <a:solidFill>
                  <a:schemeClr val="accent1">
                    <a:lumMod val="40000"/>
                    <a:lumOff val="60000"/>
                  </a:schemeClr>
                </a:solidFill>
                <a:latin typeface="Aptos ExtraBold" panose="020B0004020202020204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 userDrawn="1">
            <p:ph type="body" idx="1" hasCustomPrompt="1"/>
          </p:nvPr>
        </p:nvSpPr>
        <p:spPr>
          <a:xfrm>
            <a:off x="1044376" y="3741445"/>
            <a:ext cx="10101664" cy="2061759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4400">
                <a:solidFill>
                  <a:schemeClr val="bg1"/>
                </a:solidFill>
              </a:defRPr>
            </a:lvl1pPr>
            <a:lvl2pPr marL="45706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141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9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825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237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650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SUBTITL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36DA520-33DD-4483-AC41-0295C801D9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0376" y="6272469"/>
            <a:ext cx="2073859" cy="3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20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16"/>
          <p:cNvGrpSpPr/>
          <p:nvPr userDrawn="1"/>
        </p:nvGrpSpPr>
        <p:grpSpPr>
          <a:xfrm>
            <a:off x="0" y="0"/>
            <a:ext cx="12190413" cy="6858000"/>
            <a:chOff x="0" y="0"/>
            <a:chExt cx="12190413" cy="6858000"/>
          </a:xfrm>
          <a:solidFill>
            <a:schemeClr val="accent1">
              <a:lumMod val="50000"/>
            </a:schemeClr>
          </a:solidFill>
        </p:grpSpPr>
        <p:sp>
          <p:nvSpPr>
            <p:cNvPr id="18" name="Rechteck 17"/>
            <p:cNvSpPr/>
            <p:nvPr userDrawn="1"/>
          </p:nvSpPr>
          <p:spPr bwMode="auto">
            <a:xfrm>
              <a:off x="0" y="0"/>
              <a:ext cx="12190413" cy="6858000"/>
            </a:xfrm>
            <a:prstGeom prst="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31" tIns="45715" rIns="91431" bIns="45715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>
                <a:latin typeface="Aptos" panose="020B0004020202020204" pitchFamily="34" charset="0"/>
              </a:endParaRPr>
            </a:p>
          </p:txBody>
        </p:sp>
        <p:grpSp>
          <p:nvGrpSpPr>
            <p:cNvPr id="19" name="Gruppieren 18"/>
            <p:cNvGrpSpPr/>
            <p:nvPr userDrawn="1"/>
          </p:nvGrpSpPr>
          <p:grpSpPr>
            <a:xfrm>
              <a:off x="80228" y="4852085"/>
              <a:ext cx="12110185" cy="2005914"/>
              <a:chOff x="80228" y="4852085"/>
              <a:chExt cx="12110185" cy="2005914"/>
            </a:xfrm>
            <a:grpFill/>
          </p:grpSpPr>
          <p:sp>
            <p:nvSpPr>
              <p:cNvPr id="20" name="Freeform 15"/>
              <p:cNvSpPr>
                <a:spLocks/>
              </p:cNvSpPr>
              <p:nvPr userDrawn="1"/>
            </p:nvSpPr>
            <p:spPr bwMode="auto">
              <a:xfrm>
                <a:off x="80228" y="4852085"/>
                <a:ext cx="12108033" cy="2001797"/>
              </a:xfrm>
              <a:custGeom>
                <a:avLst/>
                <a:gdLst>
                  <a:gd name="T0" fmla="*/ 453 w 453"/>
                  <a:gd name="T1" fmla="*/ 54 h 54"/>
                  <a:gd name="T2" fmla="*/ 453 w 453"/>
                  <a:gd name="T3" fmla="*/ 18 h 54"/>
                  <a:gd name="T4" fmla="*/ 278 w 453"/>
                  <a:gd name="T5" fmla="*/ 0 h 54"/>
                  <a:gd name="T6" fmla="*/ 0 w 453"/>
                  <a:gd name="T7" fmla="*/ 54 h 54"/>
                  <a:gd name="T8" fmla="*/ 453 w 453"/>
                  <a:gd name="T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3" h="54">
                    <a:moveTo>
                      <a:pt x="453" y="54"/>
                    </a:moveTo>
                    <a:cubicBezTo>
                      <a:pt x="453" y="18"/>
                      <a:pt x="453" y="18"/>
                      <a:pt x="453" y="18"/>
                    </a:cubicBezTo>
                    <a:cubicBezTo>
                      <a:pt x="402" y="7"/>
                      <a:pt x="342" y="0"/>
                      <a:pt x="278" y="0"/>
                    </a:cubicBezTo>
                    <a:cubicBezTo>
                      <a:pt x="163" y="0"/>
                      <a:pt x="62" y="21"/>
                      <a:pt x="0" y="54"/>
                    </a:cubicBezTo>
                    <a:lnTo>
                      <a:pt x="453" y="54"/>
                    </a:lnTo>
                    <a:close/>
                  </a:path>
                </a:pathLst>
              </a:custGeom>
              <a:grpFill/>
              <a:ln w="857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Aptos" panose="020B0004020202020204" pitchFamily="34" charset="0"/>
                </a:endParaRPr>
              </a:p>
            </p:txBody>
          </p:sp>
          <p:sp>
            <p:nvSpPr>
              <p:cNvPr id="21" name="Freeform 15"/>
              <p:cNvSpPr>
                <a:spLocks/>
              </p:cNvSpPr>
              <p:nvPr userDrawn="1"/>
            </p:nvSpPr>
            <p:spPr bwMode="auto">
              <a:xfrm>
                <a:off x="2191718" y="5482769"/>
                <a:ext cx="9998695" cy="1375230"/>
              </a:xfrm>
              <a:custGeom>
                <a:avLst/>
                <a:gdLst>
                  <a:gd name="T0" fmla="*/ 453 w 453"/>
                  <a:gd name="T1" fmla="*/ 54 h 54"/>
                  <a:gd name="T2" fmla="*/ 453 w 453"/>
                  <a:gd name="T3" fmla="*/ 18 h 54"/>
                  <a:gd name="T4" fmla="*/ 278 w 453"/>
                  <a:gd name="T5" fmla="*/ 0 h 54"/>
                  <a:gd name="T6" fmla="*/ 0 w 453"/>
                  <a:gd name="T7" fmla="*/ 54 h 54"/>
                  <a:gd name="T8" fmla="*/ 453 w 453"/>
                  <a:gd name="T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3" h="54">
                    <a:moveTo>
                      <a:pt x="453" y="54"/>
                    </a:moveTo>
                    <a:cubicBezTo>
                      <a:pt x="453" y="18"/>
                      <a:pt x="453" y="18"/>
                      <a:pt x="453" y="18"/>
                    </a:cubicBezTo>
                    <a:cubicBezTo>
                      <a:pt x="402" y="7"/>
                      <a:pt x="342" y="0"/>
                      <a:pt x="278" y="0"/>
                    </a:cubicBezTo>
                    <a:cubicBezTo>
                      <a:pt x="163" y="0"/>
                      <a:pt x="62" y="21"/>
                      <a:pt x="0" y="54"/>
                    </a:cubicBezTo>
                    <a:lnTo>
                      <a:pt x="453" y="54"/>
                    </a:lnTo>
                    <a:close/>
                  </a:path>
                </a:pathLst>
              </a:custGeom>
              <a:grpFill/>
              <a:ln w="857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latin typeface="Aptos" panose="020B0004020202020204" pitchFamily="34" charset="0"/>
                </a:endParaRPr>
              </a:p>
            </p:txBody>
          </p:sp>
        </p:grpSp>
      </p:grpSp>
      <p:sp>
        <p:nvSpPr>
          <p:cNvPr id="36" name="Rechteck 35"/>
          <p:cNvSpPr/>
          <p:nvPr userDrawn="1"/>
        </p:nvSpPr>
        <p:spPr>
          <a:xfrm>
            <a:off x="-12137" y="0"/>
            <a:ext cx="12190413" cy="6858000"/>
          </a:xfrm>
          <a:prstGeom prst="rect">
            <a:avLst/>
          </a:prstGeom>
          <a:gradFill flip="none" rotWithShape="0">
            <a:gsLst>
              <a:gs pos="0">
                <a:schemeClr val="tx2">
                  <a:lumMod val="50000"/>
                </a:schemeClr>
              </a:gs>
              <a:gs pos="50000">
                <a:schemeClr val="tx2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6" rIns="91414" bIns="45706" rtlCol="0" anchor="ctr"/>
          <a:lstStyle/>
          <a:p>
            <a:pPr algn="ctr"/>
            <a:endParaRPr lang="de-DE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grpSp>
        <p:nvGrpSpPr>
          <p:cNvPr id="32" name="Gruppieren 31"/>
          <p:cNvGrpSpPr/>
          <p:nvPr userDrawn="1"/>
        </p:nvGrpSpPr>
        <p:grpSpPr>
          <a:xfrm rot="20232963">
            <a:off x="103011" y="2823991"/>
            <a:ext cx="12749214" cy="3163887"/>
            <a:chOff x="-276225" y="3046413"/>
            <a:chExt cx="12749213" cy="316388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4" name="Oval 6"/>
            <p:cNvSpPr>
              <a:spLocks noChangeArrowheads="1"/>
            </p:cNvSpPr>
            <p:nvPr userDrawn="1"/>
          </p:nvSpPr>
          <p:spPr bwMode="auto">
            <a:xfrm>
              <a:off x="5694363" y="4705350"/>
              <a:ext cx="782638" cy="781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Aptos" panose="020B0004020202020204" pitchFamily="34" charset="0"/>
              </a:endParaRPr>
            </a:p>
          </p:txBody>
        </p:sp>
        <p:sp>
          <p:nvSpPr>
            <p:cNvPr id="35" name="Freeform 7"/>
            <p:cNvSpPr>
              <a:spLocks noEditPoints="1"/>
            </p:cNvSpPr>
            <p:nvPr userDrawn="1"/>
          </p:nvSpPr>
          <p:spPr bwMode="auto">
            <a:xfrm>
              <a:off x="-276225" y="3046413"/>
              <a:ext cx="12749213" cy="3163887"/>
            </a:xfrm>
            <a:custGeom>
              <a:avLst/>
              <a:gdLst>
                <a:gd name="T0" fmla="*/ 3618 w 4014"/>
                <a:gd name="T1" fmla="*/ 28 h 996"/>
                <a:gd name="T2" fmla="*/ 3397 w 4014"/>
                <a:gd name="T3" fmla="*/ 411 h 996"/>
                <a:gd name="T4" fmla="*/ 2836 w 4014"/>
                <a:gd name="T5" fmla="*/ 365 h 996"/>
                <a:gd name="T6" fmla="*/ 2841 w 4014"/>
                <a:gd name="T7" fmla="*/ 65 h 996"/>
                <a:gd name="T8" fmla="*/ 2685 w 4014"/>
                <a:gd name="T9" fmla="*/ 168 h 996"/>
                <a:gd name="T10" fmla="*/ 2523 w 4014"/>
                <a:gd name="T11" fmla="*/ 134 h 996"/>
                <a:gd name="T12" fmla="*/ 2553 w 4014"/>
                <a:gd name="T13" fmla="*/ 407 h 996"/>
                <a:gd name="T14" fmla="*/ 1431 w 4014"/>
                <a:gd name="T15" fmla="*/ 508 h 996"/>
                <a:gd name="T16" fmla="*/ 1378 w 4014"/>
                <a:gd name="T17" fmla="*/ 180 h 996"/>
                <a:gd name="T18" fmla="*/ 1149 w 4014"/>
                <a:gd name="T19" fmla="*/ 430 h 996"/>
                <a:gd name="T20" fmla="*/ 794 w 4014"/>
                <a:gd name="T21" fmla="*/ 80 h 996"/>
                <a:gd name="T22" fmla="*/ 780 w 4014"/>
                <a:gd name="T23" fmla="*/ 87 h 996"/>
                <a:gd name="T24" fmla="*/ 706 w 4014"/>
                <a:gd name="T25" fmla="*/ 344 h 996"/>
                <a:gd name="T26" fmla="*/ 231 w 4014"/>
                <a:gd name="T27" fmla="*/ 199 h 996"/>
                <a:gd name="T28" fmla="*/ 84 w 4014"/>
                <a:gd name="T29" fmla="*/ 207 h 996"/>
                <a:gd name="T30" fmla="*/ 230 w 4014"/>
                <a:gd name="T31" fmla="*/ 516 h 996"/>
                <a:gd name="T32" fmla="*/ 244 w 4014"/>
                <a:gd name="T33" fmla="*/ 523 h 996"/>
                <a:gd name="T34" fmla="*/ 653 w 4014"/>
                <a:gd name="T35" fmla="*/ 397 h 996"/>
                <a:gd name="T36" fmla="*/ 902 w 4014"/>
                <a:gd name="T37" fmla="*/ 346 h 996"/>
                <a:gd name="T38" fmla="*/ 1068 w 4014"/>
                <a:gd name="T39" fmla="*/ 567 h 996"/>
                <a:gd name="T40" fmla="*/ 1073 w 4014"/>
                <a:gd name="T41" fmla="*/ 583 h 996"/>
                <a:gd name="T42" fmla="*/ 1341 w 4014"/>
                <a:gd name="T43" fmla="*/ 711 h 996"/>
                <a:gd name="T44" fmla="*/ 1353 w 4014"/>
                <a:gd name="T45" fmla="*/ 641 h 996"/>
                <a:gd name="T46" fmla="*/ 2350 w 4014"/>
                <a:gd name="T47" fmla="*/ 651 h 996"/>
                <a:gd name="T48" fmla="*/ 2757 w 4014"/>
                <a:gd name="T49" fmla="*/ 535 h 996"/>
                <a:gd name="T50" fmla="*/ 2773 w 4014"/>
                <a:gd name="T51" fmla="*/ 530 h 996"/>
                <a:gd name="T52" fmla="*/ 3085 w 4014"/>
                <a:gd name="T53" fmla="*/ 622 h 996"/>
                <a:gd name="T54" fmla="*/ 3065 w 4014"/>
                <a:gd name="T55" fmla="*/ 833 h 996"/>
                <a:gd name="T56" fmla="*/ 3459 w 4014"/>
                <a:gd name="T57" fmla="*/ 656 h 996"/>
                <a:gd name="T58" fmla="*/ 3464 w 4014"/>
                <a:gd name="T59" fmla="*/ 641 h 996"/>
                <a:gd name="T60" fmla="*/ 3442 w 4014"/>
                <a:gd name="T61" fmla="*/ 456 h 996"/>
                <a:gd name="T62" fmla="*/ 3726 w 4014"/>
                <a:gd name="T63" fmla="*/ 244 h 996"/>
                <a:gd name="T64" fmla="*/ 3930 w 4014"/>
                <a:gd name="T65" fmla="*/ 287 h 996"/>
                <a:gd name="T66" fmla="*/ 2796 w 4014"/>
                <a:gd name="T67" fmla="*/ 42 h 996"/>
                <a:gd name="T68" fmla="*/ 2536 w 4014"/>
                <a:gd name="T69" fmla="*/ 134 h 996"/>
                <a:gd name="T70" fmla="*/ 1378 w 4014"/>
                <a:gd name="T71" fmla="*/ 202 h 996"/>
                <a:gd name="T72" fmla="*/ 744 w 4014"/>
                <a:gd name="T73" fmla="*/ 45 h 996"/>
                <a:gd name="T74" fmla="*/ 84 w 4014"/>
                <a:gd name="T75" fmla="*/ 166 h 996"/>
                <a:gd name="T76" fmla="*/ 214 w 4014"/>
                <a:gd name="T77" fmla="*/ 593 h 996"/>
                <a:gd name="T78" fmla="*/ 388 w 4014"/>
                <a:gd name="T79" fmla="*/ 385 h 996"/>
                <a:gd name="T80" fmla="*/ 706 w 4014"/>
                <a:gd name="T81" fmla="*/ 423 h 996"/>
                <a:gd name="T82" fmla="*/ 902 w 4014"/>
                <a:gd name="T83" fmla="*/ 298 h 996"/>
                <a:gd name="T84" fmla="*/ 1028 w 4014"/>
                <a:gd name="T85" fmla="*/ 611 h 996"/>
                <a:gd name="T86" fmla="*/ 1408 w 4014"/>
                <a:gd name="T87" fmla="*/ 711 h 996"/>
                <a:gd name="T88" fmla="*/ 1279 w 4014"/>
                <a:gd name="T89" fmla="*/ 595 h 996"/>
                <a:gd name="T90" fmla="*/ 2005 w 4014"/>
                <a:gd name="T91" fmla="*/ 866 h 996"/>
                <a:gd name="T92" fmla="*/ 2835 w 4014"/>
                <a:gd name="T93" fmla="*/ 611 h 996"/>
                <a:gd name="T94" fmla="*/ 2685 w 4014"/>
                <a:gd name="T95" fmla="*/ 413 h 996"/>
                <a:gd name="T96" fmla="*/ 3020 w 4014"/>
                <a:gd name="T97" fmla="*/ 855 h 996"/>
                <a:gd name="T98" fmla="*/ 3147 w 4014"/>
                <a:gd name="T99" fmla="*/ 564 h 996"/>
                <a:gd name="T100" fmla="*/ 3540 w 4014"/>
                <a:gd name="T101" fmla="*/ 633 h 996"/>
                <a:gd name="T102" fmla="*/ 3442 w 4014"/>
                <a:gd name="T103" fmla="*/ 433 h 996"/>
                <a:gd name="T104" fmla="*/ 3618 w 4014"/>
                <a:gd name="T105" fmla="*/ 240 h 996"/>
                <a:gd name="T106" fmla="*/ 3930 w 4014"/>
                <a:gd name="T107" fmla="*/ 414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14" h="996">
                  <a:moveTo>
                    <a:pt x="3930" y="287"/>
                  </a:moveTo>
                  <a:cubicBezTo>
                    <a:pt x="3903" y="287"/>
                    <a:pt x="3880" y="300"/>
                    <a:pt x="3864" y="320"/>
                  </a:cubicBezTo>
                  <a:cubicBezTo>
                    <a:pt x="3735" y="231"/>
                    <a:pt x="3735" y="231"/>
                    <a:pt x="3735" y="231"/>
                  </a:cubicBezTo>
                  <a:cubicBezTo>
                    <a:pt x="3747" y="211"/>
                    <a:pt x="3753" y="188"/>
                    <a:pt x="3753" y="163"/>
                  </a:cubicBezTo>
                  <a:cubicBezTo>
                    <a:pt x="3753" y="88"/>
                    <a:pt x="3693" y="28"/>
                    <a:pt x="3618" y="28"/>
                  </a:cubicBezTo>
                  <a:cubicBezTo>
                    <a:pt x="3544" y="28"/>
                    <a:pt x="3483" y="88"/>
                    <a:pt x="3483" y="163"/>
                  </a:cubicBezTo>
                  <a:cubicBezTo>
                    <a:pt x="3483" y="207"/>
                    <a:pt x="3505" y="247"/>
                    <a:pt x="3538" y="272"/>
                  </a:cubicBezTo>
                  <a:cubicBezTo>
                    <a:pt x="3464" y="372"/>
                    <a:pt x="3464" y="372"/>
                    <a:pt x="3464" y="372"/>
                  </a:cubicBezTo>
                  <a:cubicBezTo>
                    <a:pt x="3458" y="368"/>
                    <a:pt x="3450" y="366"/>
                    <a:pt x="3442" y="366"/>
                  </a:cubicBezTo>
                  <a:cubicBezTo>
                    <a:pt x="3417" y="366"/>
                    <a:pt x="3397" y="386"/>
                    <a:pt x="3397" y="411"/>
                  </a:cubicBezTo>
                  <a:cubicBezTo>
                    <a:pt x="3397" y="412"/>
                    <a:pt x="3397" y="412"/>
                    <a:pt x="3397" y="413"/>
                  </a:cubicBezTo>
                  <a:cubicBezTo>
                    <a:pt x="3304" y="424"/>
                    <a:pt x="3304" y="424"/>
                    <a:pt x="3304" y="424"/>
                  </a:cubicBezTo>
                  <a:cubicBezTo>
                    <a:pt x="3284" y="357"/>
                    <a:pt x="3221" y="307"/>
                    <a:pt x="3147" y="307"/>
                  </a:cubicBezTo>
                  <a:cubicBezTo>
                    <a:pt x="3077" y="307"/>
                    <a:pt x="3017" y="351"/>
                    <a:pt x="2994" y="414"/>
                  </a:cubicBezTo>
                  <a:cubicBezTo>
                    <a:pt x="2836" y="365"/>
                    <a:pt x="2836" y="365"/>
                    <a:pt x="2836" y="365"/>
                  </a:cubicBezTo>
                  <a:cubicBezTo>
                    <a:pt x="2839" y="352"/>
                    <a:pt x="2841" y="338"/>
                    <a:pt x="2841" y="324"/>
                  </a:cubicBezTo>
                  <a:cubicBezTo>
                    <a:pt x="2841" y="263"/>
                    <a:pt x="2807" y="211"/>
                    <a:pt x="2757" y="185"/>
                  </a:cubicBezTo>
                  <a:cubicBezTo>
                    <a:pt x="2787" y="109"/>
                    <a:pt x="2787" y="109"/>
                    <a:pt x="2787" y="109"/>
                  </a:cubicBezTo>
                  <a:cubicBezTo>
                    <a:pt x="2790" y="109"/>
                    <a:pt x="2793" y="110"/>
                    <a:pt x="2796" y="110"/>
                  </a:cubicBezTo>
                  <a:cubicBezTo>
                    <a:pt x="2821" y="110"/>
                    <a:pt x="2841" y="89"/>
                    <a:pt x="2841" y="65"/>
                  </a:cubicBezTo>
                  <a:cubicBezTo>
                    <a:pt x="2841" y="40"/>
                    <a:pt x="2821" y="20"/>
                    <a:pt x="2796" y="20"/>
                  </a:cubicBezTo>
                  <a:cubicBezTo>
                    <a:pt x="2771" y="20"/>
                    <a:pt x="2751" y="40"/>
                    <a:pt x="2751" y="65"/>
                  </a:cubicBezTo>
                  <a:cubicBezTo>
                    <a:pt x="2751" y="81"/>
                    <a:pt x="2760" y="95"/>
                    <a:pt x="2772" y="103"/>
                  </a:cubicBezTo>
                  <a:cubicBezTo>
                    <a:pt x="2742" y="179"/>
                    <a:pt x="2742" y="179"/>
                    <a:pt x="2742" y="179"/>
                  </a:cubicBezTo>
                  <a:cubicBezTo>
                    <a:pt x="2724" y="172"/>
                    <a:pt x="2705" y="168"/>
                    <a:pt x="2685" y="168"/>
                  </a:cubicBezTo>
                  <a:cubicBezTo>
                    <a:pt x="2658" y="168"/>
                    <a:pt x="2632" y="175"/>
                    <a:pt x="2609" y="188"/>
                  </a:cubicBezTo>
                  <a:cubicBezTo>
                    <a:pt x="2575" y="151"/>
                    <a:pt x="2575" y="151"/>
                    <a:pt x="2575" y="151"/>
                  </a:cubicBezTo>
                  <a:cubicBezTo>
                    <a:pt x="2579" y="146"/>
                    <a:pt x="2581" y="140"/>
                    <a:pt x="2581" y="134"/>
                  </a:cubicBezTo>
                  <a:cubicBezTo>
                    <a:pt x="2581" y="118"/>
                    <a:pt x="2568" y="105"/>
                    <a:pt x="2552" y="105"/>
                  </a:cubicBezTo>
                  <a:cubicBezTo>
                    <a:pt x="2536" y="105"/>
                    <a:pt x="2523" y="118"/>
                    <a:pt x="2523" y="134"/>
                  </a:cubicBezTo>
                  <a:cubicBezTo>
                    <a:pt x="2523" y="150"/>
                    <a:pt x="2536" y="163"/>
                    <a:pt x="2552" y="163"/>
                  </a:cubicBezTo>
                  <a:cubicBezTo>
                    <a:pt x="2556" y="163"/>
                    <a:pt x="2559" y="162"/>
                    <a:pt x="2563" y="161"/>
                  </a:cubicBezTo>
                  <a:cubicBezTo>
                    <a:pt x="2595" y="196"/>
                    <a:pt x="2595" y="196"/>
                    <a:pt x="2595" y="196"/>
                  </a:cubicBezTo>
                  <a:cubicBezTo>
                    <a:pt x="2555" y="225"/>
                    <a:pt x="2529" y="271"/>
                    <a:pt x="2529" y="324"/>
                  </a:cubicBezTo>
                  <a:cubicBezTo>
                    <a:pt x="2529" y="354"/>
                    <a:pt x="2538" y="383"/>
                    <a:pt x="2553" y="407"/>
                  </a:cubicBezTo>
                  <a:cubicBezTo>
                    <a:pt x="2334" y="546"/>
                    <a:pt x="2334" y="546"/>
                    <a:pt x="2334" y="546"/>
                  </a:cubicBezTo>
                  <a:cubicBezTo>
                    <a:pt x="2290" y="407"/>
                    <a:pt x="2159" y="306"/>
                    <a:pt x="2005" y="306"/>
                  </a:cubicBezTo>
                  <a:cubicBezTo>
                    <a:pt x="1840" y="306"/>
                    <a:pt x="1702" y="422"/>
                    <a:pt x="1668" y="577"/>
                  </a:cubicBezTo>
                  <a:cubicBezTo>
                    <a:pt x="1429" y="537"/>
                    <a:pt x="1429" y="537"/>
                    <a:pt x="1429" y="537"/>
                  </a:cubicBezTo>
                  <a:cubicBezTo>
                    <a:pt x="1430" y="527"/>
                    <a:pt x="1431" y="518"/>
                    <a:pt x="1431" y="508"/>
                  </a:cubicBezTo>
                  <a:cubicBezTo>
                    <a:pt x="1431" y="442"/>
                    <a:pt x="1390" y="386"/>
                    <a:pt x="1331" y="365"/>
                  </a:cubicBezTo>
                  <a:cubicBezTo>
                    <a:pt x="1374" y="269"/>
                    <a:pt x="1374" y="269"/>
                    <a:pt x="1374" y="269"/>
                  </a:cubicBezTo>
                  <a:cubicBezTo>
                    <a:pt x="1375" y="270"/>
                    <a:pt x="1377" y="270"/>
                    <a:pt x="1378" y="270"/>
                  </a:cubicBezTo>
                  <a:cubicBezTo>
                    <a:pt x="1403" y="270"/>
                    <a:pt x="1423" y="249"/>
                    <a:pt x="1423" y="225"/>
                  </a:cubicBezTo>
                  <a:cubicBezTo>
                    <a:pt x="1423" y="200"/>
                    <a:pt x="1403" y="180"/>
                    <a:pt x="1378" y="180"/>
                  </a:cubicBezTo>
                  <a:cubicBezTo>
                    <a:pt x="1353" y="180"/>
                    <a:pt x="1333" y="200"/>
                    <a:pt x="1333" y="225"/>
                  </a:cubicBezTo>
                  <a:cubicBezTo>
                    <a:pt x="1333" y="242"/>
                    <a:pt x="1343" y="258"/>
                    <a:pt x="1358" y="265"/>
                  </a:cubicBezTo>
                  <a:cubicBezTo>
                    <a:pt x="1316" y="360"/>
                    <a:pt x="1316" y="360"/>
                    <a:pt x="1316" y="360"/>
                  </a:cubicBezTo>
                  <a:cubicBezTo>
                    <a:pt x="1304" y="358"/>
                    <a:pt x="1292" y="356"/>
                    <a:pt x="1279" y="356"/>
                  </a:cubicBezTo>
                  <a:cubicBezTo>
                    <a:pt x="1224" y="356"/>
                    <a:pt x="1176" y="385"/>
                    <a:pt x="1149" y="430"/>
                  </a:cubicBezTo>
                  <a:cubicBezTo>
                    <a:pt x="994" y="297"/>
                    <a:pt x="994" y="297"/>
                    <a:pt x="994" y="297"/>
                  </a:cubicBezTo>
                  <a:cubicBezTo>
                    <a:pt x="1006" y="280"/>
                    <a:pt x="1013" y="258"/>
                    <a:pt x="1013" y="235"/>
                  </a:cubicBezTo>
                  <a:cubicBezTo>
                    <a:pt x="1013" y="174"/>
                    <a:pt x="964" y="124"/>
                    <a:pt x="902" y="124"/>
                  </a:cubicBezTo>
                  <a:cubicBezTo>
                    <a:pt x="879" y="124"/>
                    <a:pt x="858" y="131"/>
                    <a:pt x="840" y="143"/>
                  </a:cubicBezTo>
                  <a:cubicBezTo>
                    <a:pt x="794" y="80"/>
                    <a:pt x="794" y="80"/>
                    <a:pt x="794" y="80"/>
                  </a:cubicBezTo>
                  <a:cubicBezTo>
                    <a:pt x="804" y="72"/>
                    <a:pt x="811" y="59"/>
                    <a:pt x="811" y="45"/>
                  </a:cubicBezTo>
                  <a:cubicBezTo>
                    <a:pt x="811" y="20"/>
                    <a:pt x="791" y="0"/>
                    <a:pt x="766" y="0"/>
                  </a:cubicBezTo>
                  <a:cubicBezTo>
                    <a:pt x="741" y="0"/>
                    <a:pt x="721" y="20"/>
                    <a:pt x="721" y="45"/>
                  </a:cubicBezTo>
                  <a:cubicBezTo>
                    <a:pt x="721" y="69"/>
                    <a:pt x="741" y="90"/>
                    <a:pt x="766" y="90"/>
                  </a:cubicBezTo>
                  <a:cubicBezTo>
                    <a:pt x="771" y="90"/>
                    <a:pt x="775" y="89"/>
                    <a:pt x="780" y="87"/>
                  </a:cubicBezTo>
                  <a:cubicBezTo>
                    <a:pt x="827" y="153"/>
                    <a:pt x="827" y="153"/>
                    <a:pt x="827" y="153"/>
                  </a:cubicBezTo>
                  <a:cubicBezTo>
                    <a:pt x="805" y="173"/>
                    <a:pt x="791" y="203"/>
                    <a:pt x="791" y="235"/>
                  </a:cubicBezTo>
                  <a:cubicBezTo>
                    <a:pt x="791" y="256"/>
                    <a:pt x="797" y="276"/>
                    <a:pt x="808" y="293"/>
                  </a:cubicBezTo>
                  <a:cubicBezTo>
                    <a:pt x="741" y="357"/>
                    <a:pt x="741" y="357"/>
                    <a:pt x="741" y="357"/>
                  </a:cubicBezTo>
                  <a:cubicBezTo>
                    <a:pt x="732" y="349"/>
                    <a:pt x="719" y="344"/>
                    <a:pt x="706" y="344"/>
                  </a:cubicBezTo>
                  <a:cubicBezTo>
                    <a:pt x="686" y="344"/>
                    <a:pt x="669" y="355"/>
                    <a:pt x="660" y="371"/>
                  </a:cubicBezTo>
                  <a:cubicBezTo>
                    <a:pt x="564" y="325"/>
                    <a:pt x="564" y="325"/>
                    <a:pt x="564" y="325"/>
                  </a:cubicBezTo>
                  <a:cubicBezTo>
                    <a:pt x="567" y="312"/>
                    <a:pt x="569" y="298"/>
                    <a:pt x="569" y="285"/>
                  </a:cubicBezTo>
                  <a:cubicBezTo>
                    <a:pt x="569" y="188"/>
                    <a:pt x="488" y="109"/>
                    <a:pt x="388" y="109"/>
                  </a:cubicBezTo>
                  <a:cubicBezTo>
                    <a:pt x="320" y="109"/>
                    <a:pt x="261" y="146"/>
                    <a:pt x="231" y="199"/>
                  </a:cubicBezTo>
                  <a:cubicBezTo>
                    <a:pt x="162" y="155"/>
                    <a:pt x="162" y="155"/>
                    <a:pt x="162" y="155"/>
                  </a:cubicBezTo>
                  <a:cubicBezTo>
                    <a:pt x="166" y="145"/>
                    <a:pt x="168" y="135"/>
                    <a:pt x="168" y="123"/>
                  </a:cubicBezTo>
                  <a:cubicBezTo>
                    <a:pt x="168" y="77"/>
                    <a:pt x="131" y="39"/>
                    <a:pt x="84" y="39"/>
                  </a:cubicBezTo>
                  <a:cubicBezTo>
                    <a:pt x="38" y="39"/>
                    <a:pt x="0" y="77"/>
                    <a:pt x="0" y="123"/>
                  </a:cubicBezTo>
                  <a:cubicBezTo>
                    <a:pt x="0" y="170"/>
                    <a:pt x="38" y="207"/>
                    <a:pt x="84" y="207"/>
                  </a:cubicBezTo>
                  <a:cubicBezTo>
                    <a:pt x="114" y="207"/>
                    <a:pt x="139" y="192"/>
                    <a:pt x="154" y="170"/>
                  </a:cubicBezTo>
                  <a:cubicBezTo>
                    <a:pt x="223" y="214"/>
                    <a:pt x="223" y="214"/>
                    <a:pt x="223" y="214"/>
                  </a:cubicBezTo>
                  <a:cubicBezTo>
                    <a:pt x="213" y="235"/>
                    <a:pt x="208" y="259"/>
                    <a:pt x="208" y="285"/>
                  </a:cubicBezTo>
                  <a:cubicBezTo>
                    <a:pt x="208" y="344"/>
                    <a:pt x="239" y="397"/>
                    <a:pt x="286" y="429"/>
                  </a:cubicBezTo>
                  <a:cubicBezTo>
                    <a:pt x="230" y="516"/>
                    <a:pt x="230" y="516"/>
                    <a:pt x="230" y="516"/>
                  </a:cubicBezTo>
                  <a:cubicBezTo>
                    <a:pt x="225" y="514"/>
                    <a:pt x="220" y="514"/>
                    <a:pt x="214" y="514"/>
                  </a:cubicBezTo>
                  <a:cubicBezTo>
                    <a:pt x="185" y="514"/>
                    <a:pt x="161" y="537"/>
                    <a:pt x="161" y="567"/>
                  </a:cubicBezTo>
                  <a:cubicBezTo>
                    <a:pt x="161" y="596"/>
                    <a:pt x="185" y="620"/>
                    <a:pt x="214" y="620"/>
                  </a:cubicBezTo>
                  <a:cubicBezTo>
                    <a:pt x="243" y="620"/>
                    <a:pt x="267" y="596"/>
                    <a:pt x="267" y="567"/>
                  </a:cubicBezTo>
                  <a:cubicBezTo>
                    <a:pt x="267" y="549"/>
                    <a:pt x="258" y="533"/>
                    <a:pt x="244" y="523"/>
                  </a:cubicBezTo>
                  <a:cubicBezTo>
                    <a:pt x="300" y="437"/>
                    <a:pt x="300" y="437"/>
                    <a:pt x="300" y="437"/>
                  </a:cubicBezTo>
                  <a:cubicBezTo>
                    <a:pt x="326" y="452"/>
                    <a:pt x="356" y="460"/>
                    <a:pt x="388" y="460"/>
                  </a:cubicBezTo>
                  <a:cubicBezTo>
                    <a:pt x="468" y="460"/>
                    <a:pt x="535" y="410"/>
                    <a:pt x="559" y="340"/>
                  </a:cubicBezTo>
                  <a:cubicBezTo>
                    <a:pt x="654" y="386"/>
                    <a:pt x="654" y="386"/>
                    <a:pt x="654" y="386"/>
                  </a:cubicBezTo>
                  <a:cubicBezTo>
                    <a:pt x="653" y="389"/>
                    <a:pt x="653" y="393"/>
                    <a:pt x="653" y="397"/>
                  </a:cubicBezTo>
                  <a:cubicBezTo>
                    <a:pt x="653" y="426"/>
                    <a:pt x="677" y="450"/>
                    <a:pt x="706" y="450"/>
                  </a:cubicBezTo>
                  <a:cubicBezTo>
                    <a:pt x="735" y="450"/>
                    <a:pt x="759" y="426"/>
                    <a:pt x="759" y="397"/>
                  </a:cubicBezTo>
                  <a:cubicBezTo>
                    <a:pt x="759" y="387"/>
                    <a:pt x="756" y="377"/>
                    <a:pt x="751" y="369"/>
                  </a:cubicBezTo>
                  <a:cubicBezTo>
                    <a:pt x="817" y="306"/>
                    <a:pt x="817" y="306"/>
                    <a:pt x="817" y="306"/>
                  </a:cubicBezTo>
                  <a:cubicBezTo>
                    <a:pt x="838" y="331"/>
                    <a:pt x="868" y="346"/>
                    <a:pt x="902" y="346"/>
                  </a:cubicBezTo>
                  <a:cubicBezTo>
                    <a:pt x="935" y="346"/>
                    <a:pt x="964" y="332"/>
                    <a:pt x="984" y="310"/>
                  </a:cubicBezTo>
                  <a:cubicBezTo>
                    <a:pt x="1141" y="444"/>
                    <a:pt x="1141" y="444"/>
                    <a:pt x="1141" y="444"/>
                  </a:cubicBezTo>
                  <a:cubicBezTo>
                    <a:pt x="1132" y="463"/>
                    <a:pt x="1127" y="485"/>
                    <a:pt x="1127" y="508"/>
                  </a:cubicBezTo>
                  <a:cubicBezTo>
                    <a:pt x="1127" y="520"/>
                    <a:pt x="1129" y="532"/>
                    <a:pt x="1132" y="544"/>
                  </a:cubicBezTo>
                  <a:cubicBezTo>
                    <a:pt x="1068" y="567"/>
                    <a:pt x="1068" y="567"/>
                    <a:pt x="1068" y="567"/>
                  </a:cubicBezTo>
                  <a:cubicBezTo>
                    <a:pt x="1060" y="553"/>
                    <a:pt x="1045" y="544"/>
                    <a:pt x="1028" y="544"/>
                  </a:cubicBezTo>
                  <a:cubicBezTo>
                    <a:pt x="1003" y="544"/>
                    <a:pt x="983" y="564"/>
                    <a:pt x="983" y="589"/>
                  </a:cubicBezTo>
                  <a:cubicBezTo>
                    <a:pt x="983" y="613"/>
                    <a:pt x="1003" y="634"/>
                    <a:pt x="1028" y="634"/>
                  </a:cubicBezTo>
                  <a:cubicBezTo>
                    <a:pt x="1053" y="634"/>
                    <a:pt x="1073" y="613"/>
                    <a:pt x="1073" y="589"/>
                  </a:cubicBezTo>
                  <a:cubicBezTo>
                    <a:pt x="1073" y="587"/>
                    <a:pt x="1073" y="585"/>
                    <a:pt x="1073" y="583"/>
                  </a:cubicBezTo>
                  <a:cubicBezTo>
                    <a:pt x="1136" y="559"/>
                    <a:pt x="1136" y="559"/>
                    <a:pt x="1136" y="559"/>
                  </a:cubicBezTo>
                  <a:cubicBezTo>
                    <a:pt x="1157" y="618"/>
                    <a:pt x="1213" y="660"/>
                    <a:pt x="1279" y="660"/>
                  </a:cubicBezTo>
                  <a:cubicBezTo>
                    <a:pt x="1300" y="660"/>
                    <a:pt x="1320" y="656"/>
                    <a:pt x="1339" y="648"/>
                  </a:cubicBezTo>
                  <a:cubicBezTo>
                    <a:pt x="1356" y="677"/>
                    <a:pt x="1356" y="677"/>
                    <a:pt x="1356" y="677"/>
                  </a:cubicBezTo>
                  <a:cubicBezTo>
                    <a:pt x="1347" y="685"/>
                    <a:pt x="1341" y="697"/>
                    <a:pt x="1341" y="711"/>
                  </a:cubicBezTo>
                  <a:cubicBezTo>
                    <a:pt x="1341" y="735"/>
                    <a:pt x="1361" y="756"/>
                    <a:pt x="1386" y="756"/>
                  </a:cubicBezTo>
                  <a:cubicBezTo>
                    <a:pt x="1411" y="756"/>
                    <a:pt x="1431" y="735"/>
                    <a:pt x="1431" y="711"/>
                  </a:cubicBezTo>
                  <a:cubicBezTo>
                    <a:pt x="1431" y="686"/>
                    <a:pt x="1411" y="666"/>
                    <a:pt x="1386" y="666"/>
                  </a:cubicBezTo>
                  <a:cubicBezTo>
                    <a:pt x="1380" y="666"/>
                    <a:pt x="1375" y="667"/>
                    <a:pt x="1370" y="669"/>
                  </a:cubicBezTo>
                  <a:cubicBezTo>
                    <a:pt x="1353" y="641"/>
                    <a:pt x="1353" y="641"/>
                    <a:pt x="1353" y="641"/>
                  </a:cubicBezTo>
                  <a:cubicBezTo>
                    <a:pt x="1387" y="622"/>
                    <a:pt x="1413" y="590"/>
                    <a:pt x="1425" y="552"/>
                  </a:cubicBezTo>
                  <a:cubicBezTo>
                    <a:pt x="1665" y="592"/>
                    <a:pt x="1665" y="592"/>
                    <a:pt x="1665" y="592"/>
                  </a:cubicBezTo>
                  <a:cubicBezTo>
                    <a:pt x="1662" y="611"/>
                    <a:pt x="1660" y="631"/>
                    <a:pt x="1660" y="651"/>
                  </a:cubicBezTo>
                  <a:cubicBezTo>
                    <a:pt x="1660" y="841"/>
                    <a:pt x="1814" y="996"/>
                    <a:pt x="2005" y="996"/>
                  </a:cubicBezTo>
                  <a:cubicBezTo>
                    <a:pt x="2196" y="996"/>
                    <a:pt x="2350" y="841"/>
                    <a:pt x="2350" y="651"/>
                  </a:cubicBezTo>
                  <a:cubicBezTo>
                    <a:pt x="2350" y="620"/>
                    <a:pt x="2346" y="591"/>
                    <a:pt x="2338" y="562"/>
                  </a:cubicBezTo>
                  <a:cubicBezTo>
                    <a:pt x="2562" y="420"/>
                    <a:pt x="2562" y="420"/>
                    <a:pt x="2562" y="420"/>
                  </a:cubicBezTo>
                  <a:cubicBezTo>
                    <a:pt x="2591" y="456"/>
                    <a:pt x="2635" y="480"/>
                    <a:pt x="2685" y="480"/>
                  </a:cubicBezTo>
                  <a:cubicBezTo>
                    <a:pt x="2700" y="480"/>
                    <a:pt x="2715" y="478"/>
                    <a:pt x="2728" y="474"/>
                  </a:cubicBezTo>
                  <a:cubicBezTo>
                    <a:pt x="2757" y="535"/>
                    <a:pt x="2757" y="535"/>
                    <a:pt x="2757" y="535"/>
                  </a:cubicBezTo>
                  <a:cubicBezTo>
                    <a:pt x="2728" y="548"/>
                    <a:pt x="2708" y="577"/>
                    <a:pt x="2708" y="611"/>
                  </a:cubicBezTo>
                  <a:cubicBezTo>
                    <a:pt x="2708" y="658"/>
                    <a:pt x="2746" y="695"/>
                    <a:pt x="2792" y="695"/>
                  </a:cubicBezTo>
                  <a:cubicBezTo>
                    <a:pt x="2839" y="695"/>
                    <a:pt x="2876" y="658"/>
                    <a:pt x="2876" y="611"/>
                  </a:cubicBezTo>
                  <a:cubicBezTo>
                    <a:pt x="2876" y="565"/>
                    <a:pt x="2839" y="527"/>
                    <a:pt x="2792" y="527"/>
                  </a:cubicBezTo>
                  <a:cubicBezTo>
                    <a:pt x="2786" y="527"/>
                    <a:pt x="2779" y="528"/>
                    <a:pt x="2773" y="530"/>
                  </a:cubicBezTo>
                  <a:cubicBezTo>
                    <a:pt x="2743" y="469"/>
                    <a:pt x="2743" y="469"/>
                    <a:pt x="2743" y="469"/>
                  </a:cubicBezTo>
                  <a:cubicBezTo>
                    <a:pt x="2783" y="453"/>
                    <a:pt x="2815" y="420"/>
                    <a:pt x="2831" y="380"/>
                  </a:cubicBezTo>
                  <a:cubicBezTo>
                    <a:pt x="2989" y="429"/>
                    <a:pt x="2989" y="429"/>
                    <a:pt x="2989" y="429"/>
                  </a:cubicBezTo>
                  <a:cubicBezTo>
                    <a:pt x="2986" y="442"/>
                    <a:pt x="2984" y="456"/>
                    <a:pt x="2984" y="471"/>
                  </a:cubicBezTo>
                  <a:cubicBezTo>
                    <a:pt x="2984" y="539"/>
                    <a:pt x="3026" y="597"/>
                    <a:pt x="3085" y="622"/>
                  </a:cubicBezTo>
                  <a:cubicBezTo>
                    <a:pt x="3029" y="789"/>
                    <a:pt x="3029" y="789"/>
                    <a:pt x="3029" y="789"/>
                  </a:cubicBezTo>
                  <a:cubicBezTo>
                    <a:pt x="3026" y="788"/>
                    <a:pt x="3023" y="788"/>
                    <a:pt x="3020" y="788"/>
                  </a:cubicBezTo>
                  <a:cubicBezTo>
                    <a:pt x="2995" y="788"/>
                    <a:pt x="2975" y="808"/>
                    <a:pt x="2975" y="833"/>
                  </a:cubicBezTo>
                  <a:cubicBezTo>
                    <a:pt x="2975" y="857"/>
                    <a:pt x="2995" y="878"/>
                    <a:pt x="3020" y="878"/>
                  </a:cubicBezTo>
                  <a:cubicBezTo>
                    <a:pt x="3045" y="878"/>
                    <a:pt x="3065" y="857"/>
                    <a:pt x="3065" y="833"/>
                  </a:cubicBezTo>
                  <a:cubicBezTo>
                    <a:pt x="3065" y="817"/>
                    <a:pt x="3057" y="803"/>
                    <a:pt x="3044" y="795"/>
                  </a:cubicBezTo>
                  <a:cubicBezTo>
                    <a:pt x="3100" y="627"/>
                    <a:pt x="3100" y="627"/>
                    <a:pt x="3100" y="627"/>
                  </a:cubicBezTo>
                  <a:cubicBezTo>
                    <a:pt x="3115" y="631"/>
                    <a:pt x="3131" y="634"/>
                    <a:pt x="3147" y="634"/>
                  </a:cubicBezTo>
                  <a:cubicBezTo>
                    <a:pt x="3198" y="634"/>
                    <a:pt x="3243" y="611"/>
                    <a:pt x="3273" y="575"/>
                  </a:cubicBezTo>
                  <a:cubicBezTo>
                    <a:pt x="3459" y="656"/>
                    <a:pt x="3459" y="656"/>
                    <a:pt x="3459" y="656"/>
                  </a:cubicBezTo>
                  <a:cubicBezTo>
                    <a:pt x="3457" y="662"/>
                    <a:pt x="3456" y="669"/>
                    <a:pt x="3456" y="675"/>
                  </a:cubicBezTo>
                  <a:cubicBezTo>
                    <a:pt x="3456" y="722"/>
                    <a:pt x="3494" y="759"/>
                    <a:pt x="3540" y="759"/>
                  </a:cubicBezTo>
                  <a:cubicBezTo>
                    <a:pt x="3587" y="759"/>
                    <a:pt x="3624" y="722"/>
                    <a:pt x="3624" y="675"/>
                  </a:cubicBezTo>
                  <a:cubicBezTo>
                    <a:pt x="3624" y="629"/>
                    <a:pt x="3587" y="591"/>
                    <a:pt x="3540" y="591"/>
                  </a:cubicBezTo>
                  <a:cubicBezTo>
                    <a:pt x="3506" y="591"/>
                    <a:pt x="3477" y="612"/>
                    <a:pt x="3464" y="641"/>
                  </a:cubicBezTo>
                  <a:cubicBezTo>
                    <a:pt x="3283" y="562"/>
                    <a:pt x="3283" y="562"/>
                    <a:pt x="3283" y="562"/>
                  </a:cubicBezTo>
                  <a:cubicBezTo>
                    <a:pt x="3300" y="536"/>
                    <a:pt x="3311" y="504"/>
                    <a:pt x="3311" y="471"/>
                  </a:cubicBezTo>
                  <a:cubicBezTo>
                    <a:pt x="3311" y="460"/>
                    <a:pt x="3310" y="450"/>
                    <a:pt x="3308" y="440"/>
                  </a:cubicBezTo>
                  <a:cubicBezTo>
                    <a:pt x="3401" y="429"/>
                    <a:pt x="3401" y="429"/>
                    <a:pt x="3401" y="429"/>
                  </a:cubicBezTo>
                  <a:cubicBezTo>
                    <a:pt x="3408" y="445"/>
                    <a:pt x="3424" y="456"/>
                    <a:pt x="3442" y="456"/>
                  </a:cubicBezTo>
                  <a:cubicBezTo>
                    <a:pt x="3467" y="456"/>
                    <a:pt x="3487" y="435"/>
                    <a:pt x="3487" y="411"/>
                  </a:cubicBezTo>
                  <a:cubicBezTo>
                    <a:pt x="3487" y="400"/>
                    <a:pt x="3483" y="390"/>
                    <a:pt x="3477" y="382"/>
                  </a:cubicBezTo>
                  <a:cubicBezTo>
                    <a:pt x="3551" y="280"/>
                    <a:pt x="3551" y="280"/>
                    <a:pt x="3551" y="280"/>
                  </a:cubicBezTo>
                  <a:cubicBezTo>
                    <a:pt x="3571" y="291"/>
                    <a:pt x="3594" y="298"/>
                    <a:pt x="3618" y="298"/>
                  </a:cubicBezTo>
                  <a:cubicBezTo>
                    <a:pt x="3662" y="298"/>
                    <a:pt x="3702" y="277"/>
                    <a:pt x="3726" y="244"/>
                  </a:cubicBezTo>
                  <a:cubicBezTo>
                    <a:pt x="3856" y="333"/>
                    <a:pt x="3856" y="333"/>
                    <a:pt x="3856" y="333"/>
                  </a:cubicBezTo>
                  <a:cubicBezTo>
                    <a:pt x="3850" y="344"/>
                    <a:pt x="3846" y="357"/>
                    <a:pt x="3846" y="371"/>
                  </a:cubicBezTo>
                  <a:cubicBezTo>
                    <a:pt x="3846" y="418"/>
                    <a:pt x="3884" y="455"/>
                    <a:pt x="3930" y="455"/>
                  </a:cubicBezTo>
                  <a:cubicBezTo>
                    <a:pt x="3977" y="455"/>
                    <a:pt x="4014" y="418"/>
                    <a:pt x="4014" y="371"/>
                  </a:cubicBezTo>
                  <a:cubicBezTo>
                    <a:pt x="4014" y="325"/>
                    <a:pt x="3977" y="287"/>
                    <a:pt x="3930" y="287"/>
                  </a:cubicBezTo>
                  <a:close/>
                  <a:moveTo>
                    <a:pt x="2796" y="42"/>
                  </a:moveTo>
                  <a:cubicBezTo>
                    <a:pt x="2808" y="42"/>
                    <a:pt x="2818" y="52"/>
                    <a:pt x="2818" y="65"/>
                  </a:cubicBezTo>
                  <a:cubicBezTo>
                    <a:pt x="2818" y="77"/>
                    <a:pt x="2808" y="87"/>
                    <a:pt x="2796" y="87"/>
                  </a:cubicBezTo>
                  <a:cubicBezTo>
                    <a:pt x="2784" y="87"/>
                    <a:pt x="2774" y="77"/>
                    <a:pt x="2774" y="65"/>
                  </a:cubicBezTo>
                  <a:cubicBezTo>
                    <a:pt x="2774" y="52"/>
                    <a:pt x="2784" y="42"/>
                    <a:pt x="2796" y="42"/>
                  </a:cubicBezTo>
                  <a:close/>
                  <a:moveTo>
                    <a:pt x="2536" y="134"/>
                  </a:moveTo>
                  <a:cubicBezTo>
                    <a:pt x="2536" y="125"/>
                    <a:pt x="2543" y="118"/>
                    <a:pt x="2552" y="118"/>
                  </a:cubicBezTo>
                  <a:cubicBezTo>
                    <a:pt x="2561" y="118"/>
                    <a:pt x="2569" y="125"/>
                    <a:pt x="2569" y="134"/>
                  </a:cubicBezTo>
                  <a:cubicBezTo>
                    <a:pt x="2569" y="143"/>
                    <a:pt x="2561" y="150"/>
                    <a:pt x="2552" y="150"/>
                  </a:cubicBezTo>
                  <a:cubicBezTo>
                    <a:pt x="2543" y="150"/>
                    <a:pt x="2536" y="143"/>
                    <a:pt x="2536" y="134"/>
                  </a:cubicBezTo>
                  <a:close/>
                  <a:moveTo>
                    <a:pt x="1378" y="202"/>
                  </a:moveTo>
                  <a:cubicBezTo>
                    <a:pt x="1390" y="202"/>
                    <a:pt x="1400" y="212"/>
                    <a:pt x="1400" y="225"/>
                  </a:cubicBezTo>
                  <a:cubicBezTo>
                    <a:pt x="1400" y="237"/>
                    <a:pt x="1390" y="247"/>
                    <a:pt x="1378" y="247"/>
                  </a:cubicBezTo>
                  <a:cubicBezTo>
                    <a:pt x="1366" y="247"/>
                    <a:pt x="1356" y="237"/>
                    <a:pt x="1356" y="225"/>
                  </a:cubicBezTo>
                  <a:cubicBezTo>
                    <a:pt x="1356" y="212"/>
                    <a:pt x="1366" y="202"/>
                    <a:pt x="1378" y="202"/>
                  </a:cubicBezTo>
                  <a:close/>
                  <a:moveTo>
                    <a:pt x="744" y="45"/>
                  </a:moveTo>
                  <a:cubicBezTo>
                    <a:pt x="744" y="32"/>
                    <a:pt x="754" y="22"/>
                    <a:pt x="766" y="22"/>
                  </a:cubicBezTo>
                  <a:cubicBezTo>
                    <a:pt x="778" y="22"/>
                    <a:pt x="788" y="32"/>
                    <a:pt x="788" y="45"/>
                  </a:cubicBezTo>
                  <a:cubicBezTo>
                    <a:pt x="788" y="57"/>
                    <a:pt x="778" y="67"/>
                    <a:pt x="766" y="67"/>
                  </a:cubicBezTo>
                  <a:cubicBezTo>
                    <a:pt x="754" y="67"/>
                    <a:pt x="744" y="57"/>
                    <a:pt x="744" y="45"/>
                  </a:cubicBezTo>
                  <a:close/>
                  <a:moveTo>
                    <a:pt x="84" y="166"/>
                  </a:moveTo>
                  <a:cubicBezTo>
                    <a:pt x="61" y="166"/>
                    <a:pt x="42" y="147"/>
                    <a:pt x="42" y="123"/>
                  </a:cubicBezTo>
                  <a:cubicBezTo>
                    <a:pt x="42" y="100"/>
                    <a:pt x="61" y="81"/>
                    <a:pt x="84" y="81"/>
                  </a:cubicBezTo>
                  <a:cubicBezTo>
                    <a:pt x="108" y="81"/>
                    <a:pt x="127" y="100"/>
                    <a:pt x="127" y="123"/>
                  </a:cubicBezTo>
                  <a:cubicBezTo>
                    <a:pt x="127" y="147"/>
                    <a:pt x="108" y="166"/>
                    <a:pt x="84" y="166"/>
                  </a:cubicBezTo>
                  <a:close/>
                  <a:moveTo>
                    <a:pt x="214" y="593"/>
                  </a:moveTo>
                  <a:cubicBezTo>
                    <a:pt x="199" y="593"/>
                    <a:pt x="188" y="581"/>
                    <a:pt x="188" y="567"/>
                  </a:cubicBezTo>
                  <a:cubicBezTo>
                    <a:pt x="188" y="552"/>
                    <a:pt x="199" y="540"/>
                    <a:pt x="214" y="540"/>
                  </a:cubicBezTo>
                  <a:cubicBezTo>
                    <a:pt x="229" y="540"/>
                    <a:pt x="240" y="552"/>
                    <a:pt x="240" y="567"/>
                  </a:cubicBezTo>
                  <a:cubicBezTo>
                    <a:pt x="240" y="581"/>
                    <a:pt x="229" y="593"/>
                    <a:pt x="214" y="593"/>
                  </a:cubicBezTo>
                  <a:close/>
                  <a:moveTo>
                    <a:pt x="388" y="385"/>
                  </a:moveTo>
                  <a:cubicBezTo>
                    <a:pt x="330" y="385"/>
                    <a:pt x="282" y="339"/>
                    <a:pt x="282" y="282"/>
                  </a:cubicBezTo>
                  <a:cubicBezTo>
                    <a:pt x="282" y="225"/>
                    <a:pt x="330" y="179"/>
                    <a:pt x="388" y="179"/>
                  </a:cubicBezTo>
                  <a:cubicBezTo>
                    <a:pt x="447" y="179"/>
                    <a:pt x="494" y="225"/>
                    <a:pt x="494" y="282"/>
                  </a:cubicBezTo>
                  <a:cubicBezTo>
                    <a:pt x="494" y="339"/>
                    <a:pt x="447" y="385"/>
                    <a:pt x="388" y="385"/>
                  </a:cubicBezTo>
                  <a:close/>
                  <a:moveTo>
                    <a:pt x="706" y="423"/>
                  </a:moveTo>
                  <a:cubicBezTo>
                    <a:pt x="691" y="423"/>
                    <a:pt x="680" y="411"/>
                    <a:pt x="680" y="397"/>
                  </a:cubicBezTo>
                  <a:cubicBezTo>
                    <a:pt x="680" y="382"/>
                    <a:pt x="691" y="370"/>
                    <a:pt x="706" y="370"/>
                  </a:cubicBezTo>
                  <a:cubicBezTo>
                    <a:pt x="721" y="370"/>
                    <a:pt x="732" y="382"/>
                    <a:pt x="732" y="397"/>
                  </a:cubicBezTo>
                  <a:cubicBezTo>
                    <a:pt x="732" y="411"/>
                    <a:pt x="721" y="423"/>
                    <a:pt x="706" y="423"/>
                  </a:cubicBezTo>
                  <a:close/>
                  <a:moveTo>
                    <a:pt x="902" y="298"/>
                  </a:moveTo>
                  <a:cubicBezTo>
                    <a:pt x="866" y="298"/>
                    <a:pt x="837" y="269"/>
                    <a:pt x="837" y="233"/>
                  </a:cubicBezTo>
                  <a:cubicBezTo>
                    <a:pt x="837" y="197"/>
                    <a:pt x="866" y="168"/>
                    <a:pt x="902" y="168"/>
                  </a:cubicBezTo>
                  <a:cubicBezTo>
                    <a:pt x="938" y="168"/>
                    <a:pt x="967" y="197"/>
                    <a:pt x="967" y="233"/>
                  </a:cubicBezTo>
                  <a:cubicBezTo>
                    <a:pt x="967" y="269"/>
                    <a:pt x="938" y="298"/>
                    <a:pt x="902" y="298"/>
                  </a:cubicBezTo>
                  <a:close/>
                  <a:moveTo>
                    <a:pt x="1028" y="611"/>
                  </a:moveTo>
                  <a:cubicBezTo>
                    <a:pt x="1016" y="611"/>
                    <a:pt x="1006" y="601"/>
                    <a:pt x="1006" y="589"/>
                  </a:cubicBezTo>
                  <a:cubicBezTo>
                    <a:pt x="1006" y="576"/>
                    <a:pt x="1016" y="566"/>
                    <a:pt x="1028" y="566"/>
                  </a:cubicBezTo>
                  <a:cubicBezTo>
                    <a:pt x="1040" y="566"/>
                    <a:pt x="1050" y="576"/>
                    <a:pt x="1050" y="589"/>
                  </a:cubicBezTo>
                  <a:cubicBezTo>
                    <a:pt x="1050" y="601"/>
                    <a:pt x="1040" y="611"/>
                    <a:pt x="1028" y="611"/>
                  </a:cubicBezTo>
                  <a:close/>
                  <a:moveTo>
                    <a:pt x="1408" y="711"/>
                  </a:moveTo>
                  <a:cubicBezTo>
                    <a:pt x="1408" y="723"/>
                    <a:pt x="1398" y="733"/>
                    <a:pt x="1386" y="733"/>
                  </a:cubicBezTo>
                  <a:cubicBezTo>
                    <a:pt x="1374" y="733"/>
                    <a:pt x="1364" y="723"/>
                    <a:pt x="1364" y="711"/>
                  </a:cubicBezTo>
                  <a:cubicBezTo>
                    <a:pt x="1364" y="698"/>
                    <a:pt x="1374" y="688"/>
                    <a:pt x="1386" y="688"/>
                  </a:cubicBezTo>
                  <a:cubicBezTo>
                    <a:pt x="1398" y="688"/>
                    <a:pt x="1408" y="698"/>
                    <a:pt x="1408" y="711"/>
                  </a:cubicBezTo>
                  <a:close/>
                  <a:moveTo>
                    <a:pt x="1279" y="595"/>
                  </a:moveTo>
                  <a:cubicBezTo>
                    <a:pt x="1230" y="595"/>
                    <a:pt x="1190" y="555"/>
                    <a:pt x="1190" y="506"/>
                  </a:cubicBezTo>
                  <a:cubicBezTo>
                    <a:pt x="1190" y="456"/>
                    <a:pt x="1230" y="416"/>
                    <a:pt x="1279" y="416"/>
                  </a:cubicBezTo>
                  <a:cubicBezTo>
                    <a:pt x="1328" y="416"/>
                    <a:pt x="1368" y="456"/>
                    <a:pt x="1368" y="506"/>
                  </a:cubicBezTo>
                  <a:cubicBezTo>
                    <a:pt x="1368" y="555"/>
                    <a:pt x="1328" y="595"/>
                    <a:pt x="1279" y="595"/>
                  </a:cubicBezTo>
                  <a:close/>
                  <a:moveTo>
                    <a:pt x="2005" y="866"/>
                  </a:moveTo>
                  <a:cubicBezTo>
                    <a:pt x="1885" y="866"/>
                    <a:pt x="1788" y="769"/>
                    <a:pt x="1788" y="649"/>
                  </a:cubicBezTo>
                  <a:cubicBezTo>
                    <a:pt x="1788" y="529"/>
                    <a:pt x="1885" y="432"/>
                    <a:pt x="2005" y="432"/>
                  </a:cubicBezTo>
                  <a:cubicBezTo>
                    <a:pt x="2125" y="432"/>
                    <a:pt x="2222" y="529"/>
                    <a:pt x="2222" y="649"/>
                  </a:cubicBezTo>
                  <a:cubicBezTo>
                    <a:pt x="2222" y="769"/>
                    <a:pt x="2125" y="866"/>
                    <a:pt x="2005" y="866"/>
                  </a:cubicBezTo>
                  <a:close/>
                  <a:moveTo>
                    <a:pt x="2835" y="611"/>
                  </a:moveTo>
                  <a:cubicBezTo>
                    <a:pt x="2835" y="635"/>
                    <a:pt x="2816" y="654"/>
                    <a:pt x="2792" y="654"/>
                  </a:cubicBezTo>
                  <a:cubicBezTo>
                    <a:pt x="2769" y="654"/>
                    <a:pt x="2750" y="635"/>
                    <a:pt x="2750" y="611"/>
                  </a:cubicBezTo>
                  <a:cubicBezTo>
                    <a:pt x="2750" y="588"/>
                    <a:pt x="2769" y="569"/>
                    <a:pt x="2792" y="569"/>
                  </a:cubicBezTo>
                  <a:cubicBezTo>
                    <a:pt x="2816" y="569"/>
                    <a:pt x="2835" y="588"/>
                    <a:pt x="2835" y="611"/>
                  </a:cubicBezTo>
                  <a:close/>
                  <a:moveTo>
                    <a:pt x="2685" y="413"/>
                  </a:moveTo>
                  <a:cubicBezTo>
                    <a:pt x="2635" y="413"/>
                    <a:pt x="2594" y="372"/>
                    <a:pt x="2594" y="321"/>
                  </a:cubicBezTo>
                  <a:cubicBezTo>
                    <a:pt x="2594" y="271"/>
                    <a:pt x="2635" y="230"/>
                    <a:pt x="2685" y="230"/>
                  </a:cubicBezTo>
                  <a:cubicBezTo>
                    <a:pt x="2736" y="230"/>
                    <a:pt x="2777" y="271"/>
                    <a:pt x="2777" y="321"/>
                  </a:cubicBezTo>
                  <a:cubicBezTo>
                    <a:pt x="2777" y="372"/>
                    <a:pt x="2736" y="413"/>
                    <a:pt x="2685" y="413"/>
                  </a:cubicBezTo>
                  <a:close/>
                  <a:moveTo>
                    <a:pt x="3020" y="855"/>
                  </a:moveTo>
                  <a:cubicBezTo>
                    <a:pt x="3008" y="855"/>
                    <a:pt x="2998" y="845"/>
                    <a:pt x="2998" y="833"/>
                  </a:cubicBezTo>
                  <a:cubicBezTo>
                    <a:pt x="2998" y="820"/>
                    <a:pt x="3008" y="810"/>
                    <a:pt x="3020" y="810"/>
                  </a:cubicBezTo>
                  <a:cubicBezTo>
                    <a:pt x="3032" y="810"/>
                    <a:pt x="3042" y="820"/>
                    <a:pt x="3042" y="833"/>
                  </a:cubicBezTo>
                  <a:cubicBezTo>
                    <a:pt x="3042" y="845"/>
                    <a:pt x="3032" y="855"/>
                    <a:pt x="3020" y="855"/>
                  </a:cubicBezTo>
                  <a:close/>
                  <a:moveTo>
                    <a:pt x="3147" y="564"/>
                  </a:moveTo>
                  <a:cubicBezTo>
                    <a:pt x="3094" y="564"/>
                    <a:pt x="3051" y="521"/>
                    <a:pt x="3051" y="468"/>
                  </a:cubicBezTo>
                  <a:cubicBezTo>
                    <a:pt x="3051" y="415"/>
                    <a:pt x="3094" y="372"/>
                    <a:pt x="3147" y="372"/>
                  </a:cubicBezTo>
                  <a:cubicBezTo>
                    <a:pt x="3200" y="372"/>
                    <a:pt x="3243" y="415"/>
                    <a:pt x="3243" y="468"/>
                  </a:cubicBezTo>
                  <a:cubicBezTo>
                    <a:pt x="3243" y="521"/>
                    <a:pt x="3200" y="564"/>
                    <a:pt x="3147" y="564"/>
                  </a:cubicBezTo>
                  <a:close/>
                  <a:moveTo>
                    <a:pt x="3540" y="633"/>
                  </a:moveTo>
                  <a:cubicBezTo>
                    <a:pt x="3564" y="633"/>
                    <a:pt x="3583" y="652"/>
                    <a:pt x="3583" y="675"/>
                  </a:cubicBezTo>
                  <a:cubicBezTo>
                    <a:pt x="3583" y="699"/>
                    <a:pt x="3564" y="718"/>
                    <a:pt x="3540" y="718"/>
                  </a:cubicBezTo>
                  <a:cubicBezTo>
                    <a:pt x="3517" y="718"/>
                    <a:pt x="3498" y="699"/>
                    <a:pt x="3498" y="675"/>
                  </a:cubicBezTo>
                  <a:cubicBezTo>
                    <a:pt x="3498" y="652"/>
                    <a:pt x="3517" y="633"/>
                    <a:pt x="3540" y="633"/>
                  </a:cubicBezTo>
                  <a:close/>
                  <a:moveTo>
                    <a:pt x="3442" y="433"/>
                  </a:moveTo>
                  <a:cubicBezTo>
                    <a:pt x="3430" y="433"/>
                    <a:pt x="3420" y="423"/>
                    <a:pt x="3420" y="411"/>
                  </a:cubicBezTo>
                  <a:cubicBezTo>
                    <a:pt x="3420" y="398"/>
                    <a:pt x="3430" y="388"/>
                    <a:pt x="3442" y="388"/>
                  </a:cubicBezTo>
                  <a:cubicBezTo>
                    <a:pt x="3454" y="388"/>
                    <a:pt x="3464" y="398"/>
                    <a:pt x="3464" y="411"/>
                  </a:cubicBezTo>
                  <a:cubicBezTo>
                    <a:pt x="3464" y="423"/>
                    <a:pt x="3454" y="433"/>
                    <a:pt x="3442" y="433"/>
                  </a:cubicBezTo>
                  <a:close/>
                  <a:moveTo>
                    <a:pt x="3618" y="240"/>
                  </a:moveTo>
                  <a:cubicBezTo>
                    <a:pt x="3575" y="240"/>
                    <a:pt x="3539" y="205"/>
                    <a:pt x="3539" y="161"/>
                  </a:cubicBezTo>
                  <a:cubicBezTo>
                    <a:pt x="3539" y="117"/>
                    <a:pt x="3575" y="82"/>
                    <a:pt x="3618" y="82"/>
                  </a:cubicBezTo>
                  <a:cubicBezTo>
                    <a:pt x="3662" y="82"/>
                    <a:pt x="3697" y="117"/>
                    <a:pt x="3697" y="161"/>
                  </a:cubicBezTo>
                  <a:cubicBezTo>
                    <a:pt x="3697" y="205"/>
                    <a:pt x="3662" y="240"/>
                    <a:pt x="3618" y="240"/>
                  </a:cubicBezTo>
                  <a:close/>
                  <a:moveTo>
                    <a:pt x="3930" y="414"/>
                  </a:moveTo>
                  <a:cubicBezTo>
                    <a:pt x="3907" y="414"/>
                    <a:pt x="3888" y="395"/>
                    <a:pt x="3888" y="371"/>
                  </a:cubicBezTo>
                  <a:cubicBezTo>
                    <a:pt x="3888" y="348"/>
                    <a:pt x="3907" y="329"/>
                    <a:pt x="3930" y="329"/>
                  </a:cubicBezTo>
                  <a:cubicBezTo>
                    <a:pt x="3954" y="329"/>
                    <a:pt x="3973" y="348"/>
                    <a:pt x="3973" y="371"/>
                  </a:cubicBezTo>
                  <a:cubicBezTo>
                    <a:pt x="3973" y="395"/>
                    <a:pt x="3954" y="414"/>
                    <a:pt x="3930" y="4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Aptos" panose="020B0004020202020204" pitchFamily="34" charset="0"/>
              </a:endParaRPr>
            </a:p>
          </p:txBody>
        </p:sp>
      </p:grpSp>
      <p:sp>
        <p:nvSpPr>
          <p:cNvPr id="10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73810" y="1006125"/>
            <a:ext cx="7920000" cy="1709843"/>
          </a:xfrm>
        </p:spPr>
        <p:txBody>
          <a:bodyPr tIns="0" anchor="b" anchorCtr="0">
            <a:noAutofit/>
          </a:bodyPr>
          <a:lstStyle>
            <a:lvl1pPr algn="l">
              <a:lnSpc>
                <a:spcPct val="80000"/>
              </a:lnSpc>
              <a:defRPr sz="6000" b="0" cap="none" baseline="0">
                <a:solidFill>
                  <a:schemeClr val="accent1">
                    <a:lumMod val="40000"/>
                    <a:lumOff val="60000"/>
                  </a:schemeClr>
                </a:solidFill>
                <a:latin typeface="Aptos ExtraBold" panose="020B0004020202020204" pitchFamily="34" charset="0"/>
              </a:defRPr>
            </a:lvl1pPr>
          </a:lstStyle>
          <a:p>
            <a:r>
              <a:rPr lang="de-DE" dirty="0"/>
              <a:t>SECTION 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 userDrawn="1">
            <p:ph type="body" idx="1" hasCustomPrompt="1"/>
          </p:nvPr>
        </p:nvSpPr>
        <p:spPr>
          <a:xfrm>
            <a:off x="1073814" y="2715967"/>
            <a:ext cx="7920000" cy="666000"/>
          </a:xfrm>
        </p:spPr>
        <p:txBody>
          <a:bodyPr anchor="t" anchorCtr="0"/>
          <a:lstStyle>
            <a:lvl1pPr marL="0" marR="0" indent="0" algn="l" defTabSz="91412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 sz="3200">
                <a:solidFill>
                  <a:schemeClr val="bg1"/>
                </a:solidFill>
                <a:latin typeface="Aptos Light" panose="020B0004020202020204" pitchFamily="34" charset="0"/>
              </a:defRPr>
            </a:lvl1pPr>
            <a:lvl2pPr marL="45706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141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9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825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237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650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SUBTITLE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256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Aptos Light" panose="020B0004020202020204" pitchFamily="34" charset="0"/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2" y="1483952"/>
            <a:ext cx="11134410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06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Aptos Light" panose="020B0004020202020204" pitchFamily="34" charset="0"/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2" y="1483952"/>
            <a:ext cx="11134410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539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Aptos Light" panose="020B0004020202020204" pitchFamily="34" charset="0"/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1" y="1483952"/>
            <a:ext cx="8460000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4740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Aptos Light" panose="020B0004020202020204" pitchFamily="34" charset="0"/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5" name="Inhaltsplatzhalter 2"/>
          <p:cNvSpPr>
            <a:spLocks noGrp="1"/>
          </p:cNvSpPr>
          <p:nvPr>
            <p:ph idx="16"/>
          </p:nvPr>
        </p:nvSpPr>
        <p:spPr>
          <a:xfrm>
            <a:off x="6310800" y="1476439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426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Aptos Light" panose="020B0004020202020204" pitchFamily="34" charset="0"/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6"/>
          </p:nvPr>
        </p:nvSpPr>
        <p:spPr>
          <a:xfrm>
            <a:off x="6310803" y="1483952"/>
            <a:ext cx="5879612" cy="432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918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en-US" dirty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3" y="942477"/>
            <a:ext cx="11133137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Aptos Light" panose="020B0004020202020204" pitchFamily="34" charset="0"/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202416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386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5735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2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999" b="0" i="0" baseline="0">
              <a:latin typeface="Calibri Light"/>
              <a:ea typeface="+mj-ea"/>
              <a:cs typeface="+mj-cs"/>
              <a:sym typeface="Calibri Light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"/>
            <a:ext cx="12190413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81F8895-D0F7-4AC5-AAB4-1E05446A57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802" y="1122363"/>
            <a:ext cx="914281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5312D53-FBE8-420F-BAB0-9764F1E56E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802" y="3602038"/>
            <a:ext cx="914281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B67F88B8-9E38-4C82-B3E3-82BC2A412D1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8450" y="4622104"/>
            <a:ext cx="1411962" cy="2235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2563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CB9185-E44B-479E-9280-F18D89457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 b="1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C7BFC74-3BF6-4ACD-AB66-D3A493FE5B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64781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8985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2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999" b="0" i="0" baseline="0">
              <a:latin typeface="Calibri Light"/>
              <a:ea typeface="+mj-ea"/>
              <a:cs typeface="+mj-cs"/>
              <a:sym typeface="Calibri Light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0415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4152360" y="0"/>
            <a:ext cx="803805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latin typeface="Aptos" panose="020B00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448827D-B146-485C-993E-58C62DE56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1043" y="1709739"/>
            <a:ext cx="6699606" cy="2852737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DF33C3-4B47-4268-9165-C215D4B132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71043" y="4589464"/>
            <a:ext cx="6699606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089602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078657-D5B9-45EF-98F3-1B6B5B43A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50" y="0"/>
            <a:ext cx="11370890" cy="1343818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01984A9-AB75-4052-9B57-7F39BFD267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0250" y="1825625"/>
            <a:ext cx="5588766" cy="43513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19EA064-5ED5-413F-9DB6-A071F63CDF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1397" y="1825625"/>
            <a:ext cx="5629743" cy="435133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901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vert="horz" lIns="10798" tIns="0" rIns="0" bIns="0" rtlCol="0" anchor="t" anchorCtr="0">
            <a:noAutofit/>
          </a:bodyPr>
          <a:lstStyle>
            <a:lvl1pPr marL="342798" indent="-342798">
              <a:buFont typeface="Arial" panose="020B0604020202020204" pitchFamily="34" charset="0"/>
              <a:buNone/>
              <a:defRPr lang="en-US" noProof="1">
                <a:latin typeface="Aptos Light" panose="020B0004020202020204" pitchFamily="34" charset="0"/>
              </a:defRPr>
            </a:lvl1pPr>
          </a:lstStyle>
          <a:p>
            <a:pPr marL="0" lvl="0" indent="0"/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1" y="1483952"/>
            <a:ext cx="8460000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141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B15B7F-458A-43E9-9512-06B2864B1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43" y="-1"/>
            <a:ext cx="11370920" cy="13428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FDC2F6-2C80-4381-A71D-E620B64EB2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679" y="1681163"/>
            <a:ext cx="5157116" cy="82391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4C1A3A2-6176-4862-8B07-B8EE219F93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679" y="2505075"/>
            <a:ext cx="5157116" cy="36845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0A9D3F3-C64D-4CE1-9BE5-5649B7D7B63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1397" y="1681163"/>
            <a:ext cx="5182513" cy="82391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E487E2E-0162-4CC1-8CA9-45679B2A82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1397" y="2505075"/>
            <a:ext cx="5182513" cy="36845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285840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341899-E99D-4571-98BD-4CB63A530A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557639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91704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vert="horz" lIns="10798" tIns="0" rIns="0" bIns="0" rtlCol="0" anchor="t" anchorCtr="0">
            <a:noAutofit/>
          </a:bodyPr>
          <a:lstStyle>
            <a:lvl1pPr marL="272967" indent="-272967">
              <a:buNone/>
              <a:defRPr lang="en-US" noProof="1">
                <a:latin typeface="Aptos Light" panose="020B0004020202020204" pitchFamily="34" charset="0"/>
              </a:defRPr>
            </a:lvl1pPr>
          </a:lstStyle>
          <a:p>
            <a:pPr marL="0" lvl="0" indent="0"/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Inhaltsplatzhalter 2"/>
          <p:cNvSpPr>
            <a:spLocks noGrp="1"/>
          </p:cNvSpPr>
          <p:nvPr>
            <p:ph idx="16"/>
          </p:nvPr>
        </p:nvSpPr>
        <p:spPr>
          <a:xfrm>
            <a:off x="6310800" y="1476439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572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Aptos Light" panose="020B0004020202020204" pitchFamily="34" charset="0"/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6"/>
          </p:nvPr>
        </p:nvSpPr>
        <p:spPr>
          <a:xfrm>
            <a:off x="6310803" y="1483952"/>
            <a:ext cx="5879612" cy="432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81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3" y="942477"/>
            <a:ext cx="11133137" cy="541475"/>
          </a:xfrm>
        </p:spPr>
        <p:txBody>
          <a:bodyPr vert="horz" lIns="10798" tIns="0" rIns="0" bIns="0" rtlCol="0" anchor="t" anchorCtr="0">
            <a:noAutofit/>
          </a:bodyPr>
          <a:lstStyle>
            <a:lvl1pPr marL="272967" indent="-272967">
              <a:buNone/>
              <a:defRPr lang="en-US" noProof="1">
                <a:latin typeface="Aptos Light" panose="020B0004020202020204" pitchFamily="34" charset="0"/>
              </a:defRPr>
            </a:lvl1pPr>
          </a:lstStyle>
          <a:p>
            <a:pPr marL="0" lvl="0" indent="0"/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7910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9107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-1525" y="0"/>
            <a:ext cx="1219193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6" rIns="91414" bIns="45706"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787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0"/>
            <a:ext cx="12190413" cy="6858000"/>
          </a:xfrm>
          <a:prstGeom prst="rect">
            <a:avLst/>
          </a:prstGeom>
          <a:solidFill>
            <a:srgbClr val="C8303F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06" tIns="45702" rIns="91406" bIns="45702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>
              <a:latin typeface="Aptos" panose="020B00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3" y="942477"/>
            <a:ext cx="11133137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rgbClr val="FFFFFF"/>
                </a:solidFill>
                <a:latin typeface="Aptos Light" panose="020B0004020202020204" pitchFamily="34" charset="0"/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16256" y="1483952"/>
            <a:ext cx="11133349" cy="4319248"/>
          </a:xfrm>
          <a:noFill/>
        </p:spPr>
        <p:txBody>
          <a:bodyPr/>
          <a:lstStyle>
            <a:lvl1pPr>
              <a:defRPr sz="2300">
                <a:solidFill>
                  <a:srgbClr val="DDDDDD"/>
                </a:solidFill>
              </a:defRPr>
            </a:lvl1pPr>
            <a:lvl2pPr>
              <a:defRPr>
                <a:solidFill>
                  <a:srgbClr val="DDDDDD"/>
                </a:solidFill>
              </a:defRPr>
            </a:lvl2pPr>
            <a:lvl3pPr>
              <a:defRPr>
                <a:solidFill>
                  <a:srgbClr val="DDDDDD"/>
                </a:solidFill>
              </a:defRPr>
            </a:lvl3pPr>
            <a:lvl4pPr>
              <a:defRPr>
                <a:solidFill>
                  <a:srgbClr val="DDDDDD"/>
                </a:solidFill>
              </a:defRPr>
            </a:lvl4pPr>
            <a:lvl5pPr>
              <a:defRPr>
                <a:solidFill>
                  <a:srgbClr val="DDDDDD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414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-1525" y="0"/>
            <a:ext cx="12191938" cy="6858000"/>
          </a:xfrm>
          <a:prstGeom prst="rect">
            <a:avLst/>
          </a:prstGeom>
          <a:solidFill>
            <a:srgbClr val="8D97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6" rIns="91414" bIns="45706"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16255" y="410829"/>
            <a:ext cx="11134410" cy="107312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16255" y="1483952"/>
            <a:ext cx="11134410" cy="4321536"/>
          </a:xfrm>
          <a:prstGeom prst="rect">
            <a:avLst/>
          </a:prstGeom>
        </p:spPr>
        <p:txBody>
          <a:bodyPr vert="horz" lIns="10798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6" name="Freeform 7"/>
          <p:cNvSpPr>
            <a:spLocks noEditPoints="1"/>
          </p:cNvSpPr>
          <p:nvPr userDrawn="1"/>
        </p:nvSpPr>
        <p:spPr bwMode="auto">
          <a:xfrm rot="16756386">
            <a:off x="9541985" y="868880"/>
            <a:ext cx="3700399" cy="2613310"/>
          </a:xfrm>
          <a:custGeom>
            <a:avLst/>
            <a:gdLst>
              <a:gd name="T0" fmla="*/ 1349 w 1530"/>
              <a:gd name="T1" fmla="*/ 208 h 1081"/>
              <a:gd name="T2" fmla="*/ 1000 w 1530"/>
              <a:gd name="T3" fmla="*/ 30 h 1081"/>
              <a:gd name="T4" fmla="*/ 991 w 1530"/>
              <a:gd name="T5" fmla="*/ 416 h 1081"/>
              <a:gd name="T6" fmla="*/ 944 w 1530"/>
              <a:gd name="T7" fmla="*/ 482 h 1081"/>
              <a:gd name="T8" fmla="*/ 563 w 1530"/>
              <a:gd name="T9" fmla="*/ 643 h 1081"/>
              <a:gd name="T10" fmla="*/ 248 w 1530"/>
              <a:gd name="T11" fmla="*/ 520 h 1081"/>
              <a:gd name="T12" fmla="*/ 280 w 1530"/>
              <a:gd name="T13" fmla="*/ 374 h 1081"/>
              <a:gd name="T14" fmla="*/ 230 w 1530"/>
              <a:gd name="T15" fmla="*/ 437 h 1081"/>
              <a:gd name="T16" fmla="*/ 109 w 1530"/>
              <a:gd name="T17" fmla="*/ 582 h 1081"/>
              <a:gd name="T18" fmla="*/ 23 w 1530"/>
              <a:gd name="T19" fmla="*/ 526 h 1081"/>
              <a:gd name="T20" fmla="*/ 55 w 1530"/>
              <a:gd name="T21" fmla="*/ 575 h 1081"/>
              <a:gd name="T22" fmla="*/ 143 w 1530"/>
              <a:gd name="T23" fmla="*/ 811 h 1081"/>
              <a:gd name="T24" fmla="*/ 157 w 1530"/>
              <a:gd name="T25" fmla="*/ 820 h 1081"/>
              <a:gd name="T26" fmla="*/ 387 w 1530"/>
              <a:gd name="T27" fmla="*/ 851 h 1081"/>
              <a:gd name="T28" fmla="*/ 530 w 1530"/>
              <a:gd name="T29" fmla="*/ 876 h 1081"/>
              <a:gd name="T30" fmla="*/ 348 w 1530"/>
              <a:gd name="T31" fmla="*/ 795 h 1081"/>
              <a:gd name="T32" fmla="*/ 577 w 1530"/>
              <a:gd name="T33" fmla="*/ 701 h 1081"/>
              <a:gd name="T34" fmla="*/ 737 w 1530"/>
              <a:gd name="T35" fmla="*/ 986 h 1081"/>
              <a:gd name="T36" fmla="*/ 797 w 1530"/>
              <a:gd name="T37" fmla="*/ 1011 h 1081"/>
              <a:gd name="T38" fmla="*/ 796 w 1530"/>
              <a:gd name="T39" fmla="*/ 790 h 1081"/>
              <a:gd name="T40" fmla="*/ 1104 w 1530"/>
              <a:gd name="T41" fmla="*/ 706 h 1081"/>
              <a:gd name="T42" fmla="*/ 1150 w 1530"/>
              <a:gd name="T43" fmla="*/ 593 h 1081"/>
              <a:gd name="T44" fmla="*/ 886 w 1530"/>
              <a:gd name="T45" fmla="*/ 571 h 1081"/>
              <a:gd name="T46" fmla="*/ 1004 w 1530"/>
              <a:gd name="T47" fmla="*/ 505 h 1081"/>
              <a:gd name="T48" fmla="*/ 1037 w 1530"/>
              <a:gd name="T49" fmla="*/ 295 h 1081"/>
              <a:gd name="T50" fmla="*/ 1347 w 1530"/>
              <a:gd name="T51" fmla="*/ 224 h 1081"/>
              <a:gd name="T52" fmla="*/ 1511 w 1530"/>
              <a:gd name="T53" fmla="*/ 197 h 1081"/>
              <a:gd name="T54" fmla="*/ 28 w 1530"/>
              <a:gd name="T55" fmla="*/ 538 h 1081"/>
              <a:gd name="T56" fmla="*/ 217 w 1530"/>
              <a:gd name="T57" fmla="*/ 400 h 1081"/>
              <a:gd name="T58" fmla="*/ 246 w 1530"/>
              <a:gd name="T59" fmla="*/ 412 h 1081"/>
              <a:gd name="T60" fmla="*/ 148 w 1530"/>
              <a:gd name="T61" fmla="*/ 714 h 1081"/>
              <a:gd name="T62" fmla="*/ 271 w 1530"/>
              <a:gd name="T63" fmla="*/ 765 h 1081"/>
              <a:gd name="T64" fmla="*/ 468 w 1530"/>
              <a:gd name="T65" fmla="*/ 950 h 1081"/>
              <a:gd name="T66" fmla="*/ 775 w 1530"/>
              <a:gd name="T67" fmla="*/ 1020 h 1081"/>
              <a:gd name="T68" fmla="*/ 745 w 1530"/>
              <a:gd name="T69" fmla="*/ 1007 h 1081"/>
              <a:gd name="T70" fmla="*/ 639 w 1530"/>
              <a:gd name="T71" fmla="*/ 671 h 1081"/>
              <a:gd name="T72" fmla="*/ 768 w 1530"/>
              <a:gd name="T73" fmla="*/ 724 h 1081"/>
              <a:gd name="T74" fmla="*/ 1201 w 1530"/>
              <a:gd name="T75" fmla="*/ 714 h 1081"/>
              <a:gd name="T76" fmla="*/ 995 w 1530"/>
              <a:gd name="T77" fmla="*/ 483 h 1081"/>
              <a:gd name="T78" fmla="*/ 1007 w 1530"/>
              <a:gd name="T79" fmla="*/ 453 h 1081"/>
              <a:gd name="T80" fmla="*/ 978 w 1530"/>
              <a:gd name="T81" fmla="*/ 187 h 1081"/>
              <a:gd name="T82" fmla="*/ 1085 w 1530"/>
              <a:gd name="T83" fmla="*/ 230 h 1081"/>
              <a:gd name="T84" fmla="*/ 1415 w 1530"/>
              <a:gd name="T85" fmla="*/ 191 h 10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30" h="1081">
                <a:moveTo>
                  <a:pt x="1511" y="197"/>
                </a:moveTo>
                <a:cubicBezTo>
                  <a:pt x="1493" y="154"/>
                  <a:pt x="1443" y="132"/>
                  <a:pt x="1398" y="151"/>
                </a:cubicBezTo>
                <a:cubicBezTo>
                  <a:pt x="1373" y="162"/>
                  <a:pt x="1356" y="183"/>
                  <a:pt x="1349" y="208"/>
                </a:cubicBezTo>
                <a:cubicBezTo>
                  <a:pt x="1192" y="175"/>
                  <a:pt x="1192" y="175"/>
                  <a:pt x="1192" y="175"/>
                </a:cubicBezTo>
                <a:cubicBezTo>
                  <a:pt x="1195" y="152"/>
                  <a:pt x="1192" y="128"/>
                  <a:pt x="1182" y="104"/>
                </a:cubicBezTo>
                <a:cubicBezTo>
                  <a:pt x="1152" y="33"/>
                  <a:pt x="1071" y="0"/>
                  <a:pt x="1000" y="30"/>
                </a:cubicBezTo>
                <a:cubicBezTo>
                  <a:pt x="930" y="59"/>
                  <a:pt x="896" y="140"/>
                  <a:pt x="926" y="211"/>
                </a:cubicBezTo>
                <a:cubicBezTo>
                  <a:pt x="944" y="253"/>
                  <a:pt x="980" y="282"/>
                  <a:pt x="1022" y="292"/>
                </a:cubicBezTo>
                <a:cubicBezTo>
                  <a:pt x="991" y="416"/>
                  <a:pt x="991" y="416"/>
                  <a:pt x="991" y="416"/>
                </a:cubicBezTo>
                <a:cubicBezTo>
                  <a:pt x="984" y="415"/>
                  <a:pt x="976" y="416"/>
                  <a:pt x="968" y="420"/>
                </a:cubicBezTo>
                <a:cubicBezTo>
                  <a:pt x="944" y="429"/>
                  <a:pt x="933" y="456"/>
                  <a:pt x="943" y="480"/>
                </a:cubicBezTo>
                <a:cubicBezTo>
                  <a:pt x="944" y="481"/>
                  <a:pt x="944" y="481"/>
                  <a:pt x="944" y="482"/>
                </a:cubicBezTo>
                <a:cubicBezTo>
                  <a:pt x="861" y="529"/>
                  <a:pt x="861" y="529"/>
                  <a:pt x="861" y="529"/>
                </a:cubicBezTo>
                <a:cubicBezTo>
                  <a:pt x="815" y="474"/>
                  <a:pt x="736" y="451"/>
                  <a:pt x="666" y="481"/>
                </a:cubicBezTo>
                <a:cubicBezTo>
                  <a:pt x="599" y="509"/>
                  <a:pt x="560" y="574"/>
                  <a:pt x="563" y="643"/>
                </a:cubicBezTo>
                <a:cubicBezTo>
                  <a:pt x="394" y="659"/>
                  <a:pt x="394" y="659"/>
                  <a:pt x="394" y="659"/>
                </a:cubicBezTo>
                <a:cubicBezTo>
                  <a:pt x="392" y="646"/>
                  <a:pt x="388" y="632"/>
                  <a:pt x="383" y="619"/>
                </a:cubicBezTo>
                <a:cubicBezTo>
                  <a:pt x="359" y="561"/>
                  <a:pt x="306" y="525"/>
                  <a:pt x="248" y="520"/>
                </a:cubicBezTo>
                <a:cubicBezTo>
                  <a:pt x="246" y="437"/>
                  <a:pt x="246" y="437"/>
                  <a:pt x="246" y="437"/>
                </a:cubicBezTo>
                <a:cubicBezTo>
                  <a:pt x="249" y="435"/>
                  <a:pt x="252" y="435"/>
                  <a:pt x="255" y="434"/>
                </a:cubicBezTo>
                <a:cubicBezTo>
                  <a:pt x="279" y="424"/>
                  <a:pt x="290" y="396"/>
                  <a:pt x="280" y="374"/>
                </a:cubicBezTo>
                <a:cubicBezTo>
                  <a:pt x="270" y="350"/>
                  <a:pt x="243" y="339"/>
                  <a:pt x="220" y="349"/>
                </a:cubicBezTo>
                <a:cubicBezTo>
                  <a:pt x="196" y="359"/>
                  <a:pt x="185" y="386"/>
                  <a:pt x="195" y="409"/>
                </a:cubicBezTo>
                <a:cubicBezTo>
                  <a:pt x="201" y="424"/>
                  <a:pt x="215" y="434"/>
                  <a:pt x="230" y="437"/>
                </a:cubicBezTo>
                <a:cubicBezTo>
                  <a:pt x="232" y="521"/>
                  <a:pt x="232" y="521"/>
                  <a:pt x="232" y="521"/>
                </a:cubicBezTo>
                <a:cubicBezTo>
                  <a:pt x="212" y="521"/>
                  <a:pt x="192" y="525"/>
                  <a:pt x="173" y="533"/>
                </a:cubicBezTo>
                <a:cubicBezTo>
                  <a:pt x="148" y="544"/>
                  <a:pt x="126" y="561"/>
                  <a:pt x="109" y="582"/>
                </a:cubicBezTo>
                <a:cubicBezTo>
                  <a:pt x="63" y="561"/>
                  <a:pt x="63" y="561"/>
                  <a:pt x="63" y="561"/>
                </a:cubicBezTo>
                <a:cubicBezTo>
                  <a:pt x="64" y="554"/>
                  <a:pt x="64" y="548"/>
                  <a:pt x="61" y="542"/>
                </a:cubicBezTo>
                <a:cubicBezTo>
                  <a:pt x="55" y="527"/>
                  <a:pt x="38" y="520"/>
                  <a:pt x="23" y="526"/>
                </a:cubicBezTo>
                <a:cubicBezTo>
                  <a:pt x="7" y="533"/>
                  <a:pt x="0" y="550"/>
                  <a:pt x="7" y="565"/>
                </a:cubicBezTo>
                <a:cubicBezTo>
                  <a:pt x="13" y="580"/>
                  <a:pt x="30" y="587"/>
                  <a:pt x="46" y="581"/>
                </a:cubicBezTo>
                <a:cubicBezTo>
                  <a:pt x="49" y="579"/>
                  <a:pt x="52" y="577"/>
                  <a:pt x="55" y="575"/>
                </a:cubicBezTo>
                <a:cubicBezTo>
                  <a:pt x="99" y="595"/>
                  <a:pt x="99" y="595"/>
                  <a:pt x="99" y="595"/>
                </a:cubicBezTo>
                <a:cubicBezTo>
                  <a:pt x="73" y="638"/>
                  <a:pt x="67" y="692"/>
                  <a:pt x="88" y="742"/>
                </a:cubicBezTo>
                <a:cubicBezTo>
                  <a:pt x="100" y="771"/>
                  <a:pt x="120" y="795"/>
                  <a:pt x="143" y="811"/>
                </a:cubicBezTo>
                <a:cubicBezTo>
                  <a:pt x="54" y="940"/>
                  <a:pt x="17" y="993"/>
                  <a:pt x="2" y="1015"/>
                </a:cubicBezTo>
                <a:cubicBezTo>
                  <a:pt x="2" y="1043"/>
                  <a:pt x="2" y="1043"/>
                  <a:pt x="2" y="1043"/>
                </a:cubicBezTo>
                <a:cubicBezTo>
                  <a:pt x="157" y="820"/>
                  <a:pt x="157" y="820"/>
                  <a:pt x="157" y="820"/>
                </a:cubicBezTo>
                <a:cubicBezTo>
                  <a:pt x="199" y="843"/>
                  <a:pt x="250" y="848"/>
                  <a:pt x="297" y="828"/>
                </a:cubicBezTo>
                <a:cubicBezTo>
                  <a:pt x="312" y="822"/>
                  <a:pt x="325" y="814"/>
                  <a:pt x="336" y="805"/>
                </a:cubicBezTo>
                <a:cubicBezTo>
                  <a:pt x="387" y="851"/>
                  <a:pt x="387" y="851"/>
                  <a:pt x="387" y="851"/>
                </a:cubicBezTo>
                <a:cubicBezTo>
                  <a:pt x="365" y="875"/>
                  <a:pt x="358" y="911"/>
                  <a:pt x="371" y="943"/>
                </a:cubicBezTo>
                <a:cubicBezTo>
                  <a:pt x="390" y="987"/>
                  <a:pt x="440" y="1007"/>
                  <a:pt x="484" y="989"/>
                </a:cubicBezTo>
                <a:cubicBezTo>
                  <a:pt x="528" y="970"/>
                  <a:pt x="549" y="921"/>
                  <a:pt x="530" y="876"/>
                </a:cubicBezTo>
                <a:cubicBezTo>
                  <a:pt x="512" y="833"/>
                  <a:pt x="462" y="811"/>
                  <a:pt x="417" y="830"/>
                </a:cubicBezTo>
                <a:cubicBezTo>
                  <a:pt x="412" y="832"/>
                  <a:pt x="405" y="836"/>
                  <a:pt x="400" y="840"/>
                </a:cubicBezTo>
                <a:cubicBezTo>
                  <a:pt x="348" y="795"/>
                  <a:pt x="348" y="795"/>
                  <a:pt x="348" y="795"/>
                </a:cubicBezTo>
                <a:cubicBezTo>
                  <a:pt x="379" y="764"/>
                  <a:pt x="396" y="720"/>
                  <a:pt x="396" y="675"/>
                </a:cubicBezTo>
                <a:cubicBezTo>
                  <a:pt x="565" y="659"/>
                  <a:pt x="565" y="659"/>
                  <a:pt x="565" y="659"/>
                </a:cubicBezTo>
                <a:cubicBezTo>
                  <a:pt x="567" y="673"/>
                  <a:pt x="571" y="687"/>
                  <a:pt x="577" y="701"/>
                </a:cubicBezTo>
                <a:cubicBezTo>
                  <a:pt x="604" y="765"/>
                  <a:pt x="666" y="803"/>
                  <a:pt x="732" y="803"/>
                </a:cubicBezTo>
                <a:cubicBezTo>
                  <a:pt x="746" y="984"/>
                  <a:pt x="746" y="984"/>
                  <a:pt x="746" y="984"/>
                </a:cubicBezTo>
                <a:cubicBezTo>
                  <a:pt x="742" y="984"/>
                  <a:pt x="739" y="985"/>
                  <a:pt x="737" y="986"/>
                </a:cubicBezTo>
                <a:cubicBezTo>
                  <a:pt x="713" y="996"/>
                  <a:pt x="702" y="1023"/>
                  <a:pt x="712" y="1047"/>
                </a:cubicBezTo>
                <a:cubicBezTo>
                  <a:pt x="721" y="1069"/>
                  <a:pt x="749" y="1081"/>
                  <a:pt x="772" y="1071"/>
                </a:cubicBezTo>
                <a:cubicBezTo>
                  <a:pt x="796" y="1061"/>
                  <a:pt x="807" y="1034"/>
                  <a:pt x="797" y="1011"/>
                </a:cubicBezTo>
                <a:cubicBezTo>
                  <a:pt x="791" y="996"/>
                  <a:pt x="778" y="986"/>
                  <a:pt x="762" y="983"/>
                </a:cubicBezTo>
                <a:cubicBezTo>
                  <a:pt x="748" y="802"/>
                  <a:pt x="748" y="802"/>
                  <a:pt x="748" y="802"/>
                </a:cubicBezTo>
                <a:cubicBezTo>
                  <a:pt x="764" y="800"/>
                  <a:pt x="780" y="797"/>
                  <a:pt x="796" y="790"/>
                </a:cubicBezTo>
                <a:cubicBezTo>
                  <a:pt x="844" y="770"/>
                  <a:pt x="877" y="730"/>
                  <a:pt x="891" y="684"/>
                </a:cubicBezTo>
                <a:cubicBezTo>
                  <a:pt x="1099" y="687"/>
                  <a:pt x="1099" y="687"/>
                  <a:pt x="1099" y="687"/>
                </a:cubicBezTo>
                <a:cubicBezTo>
                  <a:pt x="1100" y="694"/>
                  <a:pt x="1102" y="701"/>
                  <a:pt x="1104" y="706"/>
                </a:cubicBezTo>
                <a:cubicBezTo>
                  <a:pt x="1123" y="751"/>
                  <a:pt x="1173" y="771"/>
                  <a:pt x="1217" y="752"/>
                </a:cubicBezTo>
                <a:cubicBezTo>
                  <a:pt x="1261" y="734"/>
                  <a:pt x="1282" y="684"/>
                  <a:pt x="1263" y="639"/>
                </a:cubicBezTo>
                <a:cubicBezTo>
                  <a:pt x="1245" y="596"/>
                  <a:pt x="1195" y="575"/>
                  <a:pt x="1150" y="593"/>
                </a:cubicBezTo>
                <a:cubicBezTo>
                  <a:pt x="1118" y="607"/>
                  <a:pt x="1099" y="638"/>
                  <a:pt x="1098" y="671"/>
                </a:cubicBezTo>
                <a:cubicBezTo>
                  <a:pt x="896" y="668"/>
                  <a:pt x="896" y="668"/>
                  <a:pt x="896" y="668"/>
                </a:cubicBezTo>
                <a:cubicBezTo>
                  <a:pt x="901" y="637"/>
                  <a:pt x="899" y="602"/>
                  <a:pt x="886" y="571"/>
                </a:cubicBezTo>
                <a:cubicBezTo>
                  <a:pt x="882" y="560"/>
                  <a:pt x="877" y="551"/>
                  <a:pt x="871" y="543"/>
                </a:cubicBezTo>
                <a:cubicBezTo>
                  <a:pt x="954" y="495"/>
                  <a:pt x="954" y="495"/>
                  <a:pt x="954" y="495"/>
                </a:cubicBezTo>
                <a:cubicBezTo>
                  <a:pt x="967" y="508"/>
                  <a:pt x="987" y="512"/>
                  <a:pt x="1004" y="505"/>
                </a:cubicBezTo>
                <a:cubicBezTo>
                  <a:pt x="1028" y="495"/>
                  <a:pt x="1038" y="467"/>
                  <a:pt x="1029" y="444"/>
                </a:cubicBezTo>
                <a:cubicBezTo>
                  <a:pt x="1024" y="434"/>
                  <a:pt x="1016" y="426"/>
                  <a:pt x="1008" y="421"/>
                </a:cubicBezTo>
                <a:cubicBezTo>
                  <a:pt x="1037" y="295"/>
                  <a:pt x="1037" y="295"/>
                  <a:pt x="1037" y="295"/>
                </a:cubicBezTo>
                <a:cubicBezTo>
                  <a:pt x="1060" y="297"/>
                  <a:pt x="1085" y="295"/>
                  <a:pt x="1108" y="285"/>
                </a:cubicBezTo>
                <a:cubicBezTo>
                  <a:pt x="1149" y="268"/>
                  <a:pt x="1179" y="232"/>
                  <a:pt x="1188" y="191"/>
                </a:cubicBezTo>
                <a:cubicBezTo>
                  <a:pt x="1347" y="224"/>
                  <a:pt x="1347" y="224"/>
                  <a:pt x="1347" y="224"/>
                </a:cubicBezTo>
                <a:cubicBezTo>
                  <a:pt x="1345" y="237"/>
                  <a:pt x="1347" y="251"/>
                  <a:pt x="1352" y="264"/>
                </a:cubicBezTo>
                <a:cubicBezTo>
                  <a:pt x="1371" y="308"/>
                  <a:pt x="1422" y="328"/>
                  <a:pt x="1465" y="310"/>
                </a:cubicBezTo>
                <a:cubicBezTo>
                  <a:pt x="1510" y="291"/>
                  <a:pt x="1530" y="241"/>
                  <a:pt x="1511" y="197"/>
                </a:cubicBezTo>
                <a:close/>
                <a:moveTo>
                  <a:pt x="40" y="569"/>
                </a:moveTo>
                <a:cubicBezTo>
                  <a:pt x="32" y="572"/>
                  <a:pt x="22" y="568"/>
                  <a:pt x="19" y="560"/>
                </a:cubicBezTo>
                <a:cubicBezTo>
                  <a:pt x="15" y="551"/>
                  <a:pt x="19" y="542"/>
                  <a:pt x="28" y="538"/>
                </a:cubicBezTo>
                <a:cubicBezTo>
                  <a:pt x="36" y="535"/>
                  <a:pt x="47" y="538"/>
                  <a:pt x="50" y="547"/>
                </a:cubicBezTo>
                <a:cubicBezTo>
                  <a:pt x="54" y="555"/>
                  <a:pt x="49" y="565"/>
                  <a:pt x="40" y="569"/>
                </a:cubicBezTo>
                <a:close/>
                <a:moveTo>
                  <a:pt x="217" y="400"/>
                </a:moveTo>
                <a:cubicBezTo>
                  <a:pt x="211" y="388"/>
                  <a:pt x="217" y="374"/>
                  <a:pt x="228" y="370"/>
                </a:cubicBezTo>
                <a:cubicBezTo>
                  <a:pt x="240" y="365"/>
                  <a:pt x="253" y="370"/>
                  <a:pt x="258" y="383"/>
                </a:cubicBezTo>
                <a:cubicBezTo>
                  <a:pt x="263" y="394"/>
                  <a:pt x="258" y="407"/>
                  <a:pt x="246" y="412"/>
                </a:cubicBezTo>
                <a:cubicBezTo>
                  <a:pt x="235" y="417"/>
                  <a:pt x="221" y="412"/>
                  <a:pt x="217" y="400"/>
                </a:cubicBezTo>
                <a:close/>
                <a:moveTo>
                  <a:pt x="271" y="765"/>
                </a:moveTo>
                <a:cubicBezTo>
                  <a:pt x="223" y="785"/>
                  <a:pt x="168" y="762"/>
                  <a:pt x="148" y="714"/>
                </a:cubicBezTo>
                <a:cubicBezTo>
                  <a:pt x="128" y="667"/>
                  <a:pt x="151" y="611"/>
                  <a:pt x="198" y="592"/>
                </a:cubicBezTo>
                <a:cubicBezTo>
                  <a:pt x="246" y="571"/>
                  <a:pt x="301" y="594"/>
                  <a:pt x="321" y="641"/>
                </a:cubicBezTo>
                <a:cubicBezTo>
                  <a:pt x="341" y="689"/>
                  <a:pt x="319" y="744"/>
                  <a:pt x="271" y="765"/>
                </a:cubicBezTo>
                <a:close/>
                <a:moveTo>
                  <a:pt x="434" y="870"/>
                </a:moveTo>
                <a:cubicBezTo>
                  <a:pt x="457" y="860"/>
                  <a:pt x="482" y="871"/>
                  <a:pt x="491" y="892"/>
                </a:cubicBezTo>
                <a:cubicBezTo>
                  <a:pt x="501" y="915"/>
                  <a:pt x="490" y="941"/>
                  <a:pt x="468" y="950"/>
                </a:cubicBezTo>
                <a:cubicBezTo>
                  <a:pt x="446" y="959"/>
                  <a:pt x="420" y="949"/>
                  <a:pt x="411" y="926"/>
                </a:cubicBezTo>
                <a:cubicBezTo>
                  <a:pt x="402" y="904"/>
                  <a:pt x="412" y="879"/>
                  <a:pt x="434" y="870"/>
                </a:cubicBezTo>
                <a:close/>
                <a:moveTo>
                  <a:pt x="775" y="1020"/>
                </a:moveTo>
                <a:cubicBezTo>
                  <a:pt x="780" y="1031"/>
                  <a:pt x="775" y="1045"/>
                  <a:pt x="763" y="1050"/>
                </a:cubicBezTo>
                <a:cubicBezTo>
                  <a:pt x="752" y="1054"/>
                  <a:pt x="738" y="1049"/>
                  <a:pt x="734" y="1038"/>
                </a:cubicBezTo>
                <a:cubicBezTo>
                  <a:pt x="729" y="1025"/>
                  <a:pt x="734" y="1012"/>
                  <a:pt x="745" y="1007"/>
                </a:cubicBezTo>
                <a:cubicBezTo>
                  <a:pt x="757" y="1002"/>
                  <a:pt x="770" y="1008"/>
                  <a:pt x="775" y="1020"/>
                </a:cubicBezTo>
                <a:close/>
                <a:moveTo>
                  <a:pt x="768" y="724"/>
                </a:moveTo>
                <a:cubicBezTo>
                  <a:pt x="718" y="745"/>
                  <a:pt x="660" y="721"/>
                  <a:pt x="639" y="671"/>
                </a:cubicBezTo>
                <a:cubicBezTo>
                  <a:pt x="618" y="621"/>
                  <a:pt x="641" y="563"/>
                  <a:pt x="691" y="542"/>
                </a:cubicBezTo>
                <a:cubicBezTo>
                  <a:pt x="742" y="521"/>
                  <a:pt x="799" y="545"/>
                  <a:pt x="820" y="595"/>
                </a:cubicBezTo>
                <a:cubicBezTo>
                  <a:pt x="841" y="645"/>
                  <a:pt x="818" y="703"/>
                  <a:pt x="768" y="724"/>
                </a:cubicBezTo>
                <a:close/>
                <a:moveTo>
                  <a:pt x="1167" y="633"/>
                </a:moveTo>
                <a:cubicBezTo>
                  <a:pt x="1190" y="624"/>
                  <a:pt x="1215" y="634"/>
                  <a:pt x="1224" y="656"/>
                </a:cubicBezTo>
                <a:cubicBezTo>
                  <a:pt x="1234" y="678"/>
                  <a:pt x="1223" y="704"/>
                  <a:pt x="1201" y="714"/>
                </a:cubicBezTo>
                <a:cubicBezTo>
                  <a:pt x="1179" y="723"/>
                  <a:pt x="1153" y="712"/>
                  <a:pt x="1144" y="690"/>
                </a:cubicBezTo>
                <a:cubicBezTo>
                  <a:pt x="1135" y="668"/>
                  <a:pt x="1145" y="642"/>
                  <a:pt x="1167" y="633"/>
                </a:cubicBezTo>
                <a:close/>
                <a:moveTo>
                  <a:pt x="995" y="483"/>
                </a:moveTo>
                <a:cubicBezTo>
                  <a:pt x="983" y="488"/>
                  <a:pt x="970" y="482"/>
                  <a:pt x="965" y="471"/>
                </a:cubicBezTo>
                <a:cubicBezTo>
                  <a:pt x="960" y="459"/>
                  <a:pt x="966" y="445"/>
                  <a:pt x="977" y="440"/>
                </a:cubicBezTo>
                <a:cubicBezTo>
                  <a:pt x="988" y="436"/>
                  <a:pt x="1002" y="441"/>
                  <a:pt x="1007" y="453"/>
                </a:cubicBezTo>
                <a:cubicBezTo>
                  <a:pt x="1012" y="465"/>
                  <a:pt x="1006" y="478"/>
                  <a:pt x="995" y="483"/>
                </a:cubicBezTo>
                <a:close/>
                <a:moveTo>
                  <a:pt x="1085" y="230"/>
                </a:moveTo>
                <a:cubicBezTo>
                  <a:pt x="1044" y="248"/>
                  <a:pt x="996" y="229"/>
                  <a:pt x="978" y="187"/>
                </a:cubicBezTo>
                <a:cubicBezTo>
                  <a:pt x="961" y="145"/>
                  <a:pt x="981" y="98"/>
                  <a:pt x="1022" y="81"/>
                </a:cubicBezTo>
                <a:cubicBezTo>
                  <a:pt x="1063" y="63"/>
                  <a:pt x="1110" y="83"/>
                  <a:pt x="1128" y="124"/>
                </a:cubicBezTo>
                <a:cubicBezTo>
                  <a:pt x="1145" y="166"/>
                  <a:pt x="1126" y="213"/>
                  <a:pt x="1085" y="230"/>
                </a:cubicBezTo>
                <a:close/>
                <a:moveTo>
                  <a:pt x="1449" y="271"/>
                </a:moveTo>
                <a:cubicBezTo>
                  <a:pt x="1427" y="280"/>
                  <a:pt x="1402" y="270"/>
                  <a:pt x="1392" y="247"/>
                </a:cubicBezTo>
                <a:cubicBezTo>
                  <a:pt x="1383" y="225"/>
                  <a:pt x="1393" y="200"/>
                  <a:pt x="1415" y="191"/>
                </a:cubicBezTo>
                <a:cubicBezTo>
                  <a:pt x="1438" y="181"/>
                  <a:pt x="1463" y="192"/>
                  <a:pt x="1472" y="213"/>
                </a:cubicBezTo>
                <a:cubicBezTo>
                  <a:pt x="1482" y="236"/>
                  <a:pt x="1471" y="262"/>
                  <a:pt x="1449" y="271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7222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1" r:id="rId2"/>
    <p:sldLayoutId id="2147483709" r:id="rId3"/>
    <p:sldLayoutId id="2147483710" r:id="rId4"/>
    <p:sldLayoutId id="2147483681" r:id="rId5"/>
    <p:sldLayoutId id="2147483679" r:id="rId6"/>
    <p:sldLayoutId id="2147483680" r:id="rId7"/>
    <p:sldLayoutId id="2147483730" r:id="rId8"/>
    <p:sldLayoutId id="2147483689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7" rtl="0" eaLnBrk="1" latinLnBrk="0" hangingPunct="1">
        <a:spcBef>
          <a:spcPct val="0"/>
        </a:spcBef>
        <a:buNone/>
        <a:defRPr lang="en-US" sz="3600" b="0" kern="1200" dirty="0">
          <a:solidFill>
            <a:schemeClr val="bg1"/>
          </a:solidFill>
          <a:latin typeface="Aptos" panose="020B0004020202020204" pitchFamily="34" charset="0"/>
          <a:ea typeface="+mj-ea"/>
          <a:cs typeface="+mj-cs"/>
        </a:defRPr>
      </a:lvl1pPr>
    </p:titleStyle>
    <p:bodyStyle>
      <a:lvl1pPr marL="272967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300" kern="1200">
          <a:solidFill>
            <a:schemeClr val="bg1"/>
          </a:solidFill>
          <a:latin typeface="Aptos Light" panose="020B0004020202020204" pitchFamily="34" charset="0"/>
          <a:ea typeface="+mn-ea"/>
          <a:cs typeface="+mn-cs"/>
        </a:defRPr>
      </a:lvl1pPr>
      <a:lvl2pPr marL="807798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Aptos Light" panose="020B0004020202020204" pitchFamily="34" charset="0"/>
          <a:ea typeface="+mn-ea"/>
          <a:cs typeface="+mn-cs"/>
        </a:defRPr>
      </a:lvl2pPr>
      <a:lvl3pPr marL="1080764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900" kern="1200">
          <a:solidFill>
            <a:schemeClr val="bg1"/>
          </a:solidFill>
          <a:latin typeface="Aptos Light" panose="020B0004020202020204" pitchFamily="34" charset="0"/>
          <a:ea typeface="+mn-ea"/>
          <a:cs typeface="+mn-cs"/>
        </a:defRPr>
      </a:lvl3pPr>
      <a:lvl4pPr marL="1436256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bg1"/>
          </a:solidFill>
          <a:latin typeface="Aptos Light" panose="020B0004020202020204" pitchFamily="34" charset="0"/>
          <a:ea typeface="+mn-ea"/>
          <a:cs typeface="+mn-cs"/>
        </a:defRPr>
      </a:lvl4pPr>
      <a:lvl5pPr marL="1793335" indent="-179335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bg1"/>
          </a:solidFill>
          <a:latin typeface="Aptos Light" panose="020B0004020202020204" pitchFamily="34" charset="0"/>
          <a:ea typeface="+mn-ea"/>
          <a:cs typeface="+mn-cs"/>
        </a:defRPr>
      </a:lvl5pPr>
      <a:lvl6pPr marL="2513847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0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2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7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8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-1525" y="0"/>
            <a:ext cx="12191938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6" rIns="91414" bIns="45706"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  <p:sp>
        <p:nvSpPr>
          <p:cNvPr id="12" name="Freeform 7"/>
          <p:cNvSpPr>
            <a:spLocks noEditPoints="1"/>
          </p:cNvSpPr>
          <p:nvPr userDrawn="1"/>
        </p:nvSpPr>
        <p:spPr bwMode="auto">
          <a:xfrm rot="16756386">
            <a:off x="9541985" y="868880"/>
            <a:ext cx="3700399" cy="2613310"/>
          </a:xfrm>
          <a:custGeom>
            <a:avLst/>
            <a:gdLst>
              <a:gd name="T0" fmla="*/ 1349 w 1530"/>
              <a:gd name="T1" fmla="*/ 208 h 1081"/>
              <a:gd name="T2" fmla="*/ 1000 w 1530"/>
              <a:gd name="T3" fmla="*/ 30 h 1081"/>
              <a:gd name="T4" fmla="*/ 991 w 1530"/>
              <a:gd name="T5" fmla="*/ 416 h 1081"/>
              <a:gd name="T6" fmla="*/ 944 w 1530"/>
              <a:gd name="T7" fmla="*/ 482 h 1081"/>
              <a:gd name="T8" fmla="*/ 563 w 1530"/>
              <a:gd name="T9" fmla="*/ 643 h 1081"/>
              <a:gd name="T10" fmla="*/ 248 w 1530"/>
              <a:gd name="T11" fmla="*/ 520 h 1081"/>
              <a:gd name="T12" fmla="*/ 280 w 1530"/>
              <a:gd name="T13" fmla="*/ 374 h 1081"/>
              <a:gd name="T14" fmla="*/ 230 w 1530"/>
              <a:gd name="T15" fmla="*/ 437 h 1081"/>
              <a:gd name="T16" fmla="*/ 109 w 1530"/>
              <a:gd name="T17" fmla="*/ 582 h 1081"/>
              <a:gd name="T18" fmla="*/ 23 w 1530"/>
              <a:gd name="T19" fmla="*/ 526 h 1081"/>
              <a:gd name="T20" fmla="*/ 55 w 1530"/>
              <a:gd name="T21" fmla="*/ 575 h 1081"/>
              <a:gd name="T22" fmla="*/ 143 w 1530"/>
              <a:gd name="T23" fmla="*/ 811 h 1081"/>
              <a:gd name="T24" fmla="*/ 157 w 1530"/>
              <a:gd name="T25" fmla="*/ 820 h 1081"/>
              <a:gd name="T26" fmla="*/ 387 w 1530"/>
              <a:gd name="T27" fmla="*/ 851 h 1081"/>
              <a:gd name="T28" fmla="*/ 530 w 1530"/>
              <a:gd name="T29" fmla="*/ 876 h 1081"/>
              <a:gd name="T30" fmla="*/ 348 w 1530"/>
              <a:gd name="T31" fmla="*/ 795 h 1081"/>
              <a:gd name="T32" fmla="*/ 577 w 1530"/>
              <a:gd name="T33" fmla="*/ 701 h 1081"/>
              <a:gd name="T34" fmla="*/ 737 w 1530"/>
              <a:gd name="T35" fmla="*/ 986 h 1081"/>
              <a:gd name="T36" fmla="*/ 797 w 1530"/>
              <a:gd name="T37" fmla="*/ 1011 h 1081"/>
              <a:gd name="T38" fmla="*/ 796 w 1530"/>
              <a:gd name="T39" fmla="*/ 790 h 1081"/>
              <a:gd name="T40" fmla="*/ 1104 w 1530"/>
              <a:gd name="T41" fmla="*/ 706 h 1081"/>
              <a:gd name="T42" fmla="*/ 1150 w 1530"/>
              <a:gd name="T43" fmla="*/ 593 h 1081"/>
              <a:gd name="T44" fmla="*/ 886 w 1530"/>
              <a:gd name="T45" fmla="*/ 571 h 1081"/>
              <a:gd name="T46" fmla="*/ 1004 w 1530"/>
              <a:gd name="T47" fmla="*/ 505 h 1081"/>
              <a:gd name="T48" fmla="*/ 1037 w 1530"/>
              <a:gd name="T49" fmla="*/ 295 h 1081"/>
              <a:gd name="T50" fmla="*/ 1347 w 1530"/>
              <a:gd name="T51" fmla="*/ 224 h 1081"/>
              <a:gd name="T52" fmla="*/ 1511 w 1530"/>
              <a:gd name="T53" fmla="*/ 197 h 1081"/>
              <a:gd name="T54" fmla="*/ 28 w 1530"/>
              <a:gd name="T55" fmla="*/ 538 h 1081"/>
              <a:gd name="T56" fmla="*/ 217 w 1530"/>
              <a:gd name="T57" fmla="*/ 400 h 1081"/>
              <a:gd name="T58" fmla="*/ 246 w 1530"/>
              <a:gd name="T59" fmla="*/ 412 h 1081"/>
              <a:gd name="T60" fmla="*/ 148 w 1530"/>
              <a:gd name="T61" fmla="*/ 714 h 1081"/>
              <a:gd name="T62" fmla="*/ 271 w 1530"/>
              <a:gd name="T63" fmla="*/ 765 h 1081"/>
              <a:gd name="T64" fmla="*/ 468 w 1530"/>
              <a:gd name="T65" fmla="*/ 950 h 1081"/>
              <a:gd name="T66" fmla="*/ 775 w 1530"/>
              <a:gd name="T67" fmla="*/ 1020 h 1081"/>
              <a:gd name="T68" fmla="*/ 745 w 1530"/>
              <a:gd name="T69" fmla="*/ 1007 h 1081"/>
              <a:gd name="T70" fmla="*/ 639 w 1530"/>
              <a:gd name="T71" fmla="*/ 671 h 1081"/>
              <a:gd name="T72" fmla="*/ 768 w 1530"/>
              <a:gd name="T73" fmla="*/ 724 h 1081"/>
              <a:gd name="T74" fmla="*/ 1201 w 1530"/>
              <a:gd name="T75" fmla="*/ 714 h 1081"/>
              <a:gd name="T76" fmla="*/ 995 w 1530"/>
              <a:gd name="T77" fmla="*/ 483 h 1081"/>
              <a:gd name="T78" fmla="*/ 1007 w 1530"/>
              <a:gd name="T79" fmla="*/ 453 h 1081"/>
              <a:gd name="T80" fmla="*/ 978 w 1530"/>
              <a:gd name="T81" fmla="*/ 187 h 1081"/>
              <a:gd name="T82" fmla="*/ 1085 w 1530"/>
              <a:gd name="T83" fmla="*/ 230 h 1081"/>
              <a:gd name="T84" fmla="*/ 1415 w 1530"/>
              <a:gd name="T85" fmla="*/ 191 h 10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30" h="1081">
                <a:moveTo>
                  <a:pt x="1511" y="197"/>
                </a:moveTo>
                <a:cubicBezTo>
                  <a:pt x="1493" y="154"/>
                  <a:pt x="1443" y="132"/>
                  <a:pt x="1398" y="151"/>
                </a:cubicBezTo>
                <a:cubicBezTo>
                  <a:pt x="1373" y="162"/>
                  <a:pt x="1356" y="183"/>
                  <a:pt x="1349" y="208"/>
                </a:cubicBezTo>
                <a:cubicBezTo>
                  <a:pt x="1192" y="175"/>
                  <a:pt x="1192" y="175"/>
                  <a:pt x="1192" y="175"/>
                </a:cubicBezTo>
                <a:cubicBezTo>
                  <a:pt x="1195" y="152"/>
                  <a:pt x="1192" y="128"/>
                  <a:pt x="1182" y="104"/>
                </a:cubicBezTo>
                <a:cubicBezTo>
                  <a:pt x="1152" y="33"/>
                  <a:pt x="1071" y="0"/>
                  <a:pt x="1000" y="30"/>
                </a:cubicBezTo>
                <a:cubicBezTo>
                  <a:pt x="930" y="59"/>
                  <a:pt x="896" y="140"/>
                  <a:pt x="926" y="211"/>
                </a:cubicBezTo>
                <a:cubicBezTo>
                  <a:pt x="944" y="253"/>
                  <a:pt x="980" y="282"/>
                  <a:pt x="1022" y="292"/>
                </a:cubicBezTo>
                <a:cubicBezTo>
                  <a:pt x="991" y="416"/>
                  <a:pt x="991" y="416"/>
                  <a:pt x="991" y="416"/>
                </a:cubicBezTo>
                <a:cubicBezTo>
                  <a:pt x="984" y="415"/>
                  <a:pt x="976" y="416"/>
                  <a:pt x="968" y="420"/>
                </a:cubicBezTo>
                <a:cubicBezTo>
                  <a:pt x="944" y="429"/>
                  <a:pt x="933" y="456"/>
                  <a:pt x="943" y="480"/>
                </a:cubicBezTo>
                <a:cubicBezTo>
                  <a:pt x="944" y="481"/>
                  <a:pt x="944" y="481"/>
                  <a:pt x="944" y="482"/>
                </a:cubicBezTo>
                <a:cubicBezTo>
                  <a:pt x="861" y="529"/>
                  <a:pt x="861" y="529"/>
                  <a:pt x="861" y="529"/>
                </a:cubicBezTo>
                <a:cubicBezTo>
                  <a:pt x="815" y="474"/>
                  <a:pt x="736" y="451"/>
                  <a:pt x="666" y="481"/>
                </a:cubicBezTo>
                <a:cubicBezTo>
                  <a:pt x="599" y="509"/>
                  <a:pt x="560" y="574"/>
                  <a:pt x="563" y="643"/>
                </a:cubicBezTo>
                <a:cubicBezTo>
                  <a:pt x="394" y="659"/>
                  <a:pt x="394" y="659"/>
                  <a:pt x="394" y="659"/>
                </a:cubicBezTo>
                <a:cubicBezTo>
                  <a:pt x="392" y="646"/>
                  <a:pt x="388" y="632"/>
                  <a:pt x="383" y="619"/>
                </a:cubicBezTo>
                <a:cubicBezTo>
                  <a:pt x="359" y="561"/>
                  <a:pt x="306" y="525"/>
                  <a:pt x="248" y="520"/>
                </a:cubicBezTo>
                <a:cubicBezTo>
                  <a:pt x="246" y="437"/>
                  <a:pt x="246" y="437"/>
                  <a:pt x="246" y="437"/>
                </a:cubicBezTo>
                <a:cubicBezTo>
                  <a:pt x="249" y="435"/>
                  <a:pt x="252" y="435"/>
                  <a:pt x="255" y="434"/>
                </a:cubicBezTo>
                <a:cubicBezTo>
                  <a:pt x="279" y="424"/>
                  <a:pt x="290" y="396"/>
                  <a:pt x="280" y="374"/>
                </a:cubicBezTo>
                <a:cubicBezTo>
                  <a:pt x="270" y="350"/>
                  <a:pt x="243" y="339"/>
                  <a:pt x="220" y="349"/>
                </a:cubicBezTo>
                <a:cubicBezTo>
                  <a:pt x="196" y="359"/>
                  <a:pt x="185" y="386"/>
                  <a:pt x="195" y="409"/>
                </a:cubicBezTo>
                <a:cubicBezTo>
                  <a:pt x="201" y="424"/>
                  <a:pt x="215" y="434"/>
                  <a:pt x="230" y="437"/>
                </a:cubicBezTo>
                <a:cubicBezTo>
                  <a:pt x="232" y="521"/>
                  <a:pt x="232" y="521"/>
                  <a:pt x="232" y="521"/>
                </a:cubicBezTo>
                <a:cubicBezTo>
                  <a:pt x="212" y="521"/>
                  <a:pt x="192" y="525"/>
                  <a:pt x="173" y="533"/>
                </a:cubicBezTo>
                <a:cubicBezTo>
                  <a:pt x="148" y="544"/>
                  <a:pt x="126" y="561"/>
                  <a:pt x="109" y="582"/>
                </a:cubicBezTo>
                <a:cubicBezTo>
                  <a:pt x="63" y="561"/>
                  <a:pt x="63" y="561"/>
                  <a:pt x="63" y="561"/>
                </a:cubicBezTo>
                <a:cubicBezTo>
                  <a:pt x="64" y="554"/>
                  <a:pt x="64" y="548"/>
                  <a:pt x="61" y="542"/>
                </a:cubicBezTo>
                <a:cubicBezTo>
                  <a:pt x="55" y="527"/>
                  <a:pt x="38" y="520"/>
                  <a:pt x="23" y="526"/>
                </a:cubicBezTo>
                <a:cubicBezTo>
                  <a:pt x="7" y="533"/>
                  <a:pt x="0" y="550"/>
                  <a:pt x="7" y="565"/>
                </a:cubicBezTo>
                <a:cubicBezTo>
                  <a:pt x="13" y="580"/>
                  <a:pt x="30" y="587"/>
                  <a:pt x="46" y="581"/>
                </a:cubicBezTo>
                <a:cubicBezTo>
                  <a:pt x="49" y="579"/>
                  <a:pt x="52" y="577"/>
                  <a:pt x="55" y="575"/>
                </a:cubicBezTo>
                <a:cubicBezTo>
                  <a:pt x="99" y="595"/>
                  <a:pt x="99" y="595"/>
                  <a:pt x="99" y="595"/>
                </a:cubicBezTo>
                <a:cubicBezTo>
                  <a:pt x="73" y="638"/>
                  <a:pt x="67" y="692"/>
                  <a:pt x="88" y="742"/>
                </a:cubicBezTo>
                <a:cubicBezTo>
                  <a:pt x="100" y="771"/>
                  <a:pt x="120" y="795"/>
                  <a:pt x="143" y="811"/>
                </a:cubicBezTo>
                <a:cubicBezTo>
                  <a:pt x="54" y="940"/>
                  <a:pt x="17" y="993"/>
                  <a:pt x="2" y="1015"/>
                </a:cubicBezTo>
                <a:cubicBezTo>
                  <a:pt x="2" y="1043"/>
                  <a:pt x="2" y="1043"/>
                  <a:pt x="2" y="1043"/>
                </a:cubicBezTo>
                <a:cubicBezTo>
                  <a:pt x="157" y="820"/>
                  <a:pt x="157" y="820"/>
                  <a:pt x="157" y="820"/>
                </a:cubicBezTo>
                <a:cubicBezTo>
                  <a:pt x="199" y="843"/>
                  <a:pt x="250" y="848"/>
                  <a:pt x="297" y="828"/>
                </a:cubicBezTo>
                <a:cubicBezTo>
                  <a:pt x="312" y="822"/>
                  <a:pt x="325" y="814"/>
                  <a:pt x="336" y="805"/>
                </a:cubicBezTo>
                <a:cubicBezTo>
                  <a:pt x="387" y="851"/>
                  <a:pt x="387" y="851"/>
                  <a:pt x="387" y="851"/>
                </a:cubicBezTo>
                <a:cubicBezTo>
                  <a:pt x="365" y="875"/>
                  <a:pt x="358" y="911"/>
                  <a:pt x="371" y="943"/>
                </a:cubicBezTo>
                <a:cubicBezTo>
                  <a:pt x="390" y="987"/>
                  <a:pt x="440" y="1007"/>
                  <a:pt x="484" y="989"/>
                </a:cubicBezTo>
                <a:cubicBezTo>
                  <a:pt x="528" y="970"/>
                  <a:pt x="549" y="921"/>
                  <a:pt x="530" y="876"/>
                </a:cubicBezTo>
                <a:cubicBezTo>
                  <a:pt x="512" y="833"/>
                  <a:pt x="462" y="811"/>
                  <a:pt x="417" y="830"/>
                </a:cubicBezTo>
                <a:cubicBezTo>
                  <a:pt x="412" y="832"/>
                  <a:pt x="405" y="836"/>
                  <a:pt x="400" y="840"/>
                </a:cubicBezTo>
                <a:cubicBezTo>
                  <a:pt x="348" y="795"/>
                  <a:pt x="348" y="795"/>
                  <a:pt x="348" y="795"/>
                </a:cubicBezTo>
                <a:cubicBezTo>
                  <a:pt x="379" y="764"/>
                  <a:pt x="396" y="720"/>
                  <a:pt x="396" y="675"/>
                </a:cubicBezTo>
                <a:cubicBezTo>
                  <a:pt x="565" y="659"/>
                  <a:pt x="565" y="659"/>
                  <a:pt x="565" y="659"/>
                </a:cubicBezTo>
                <a:cubicBezTo>
                  <a:pt x="567" y="673"/>
                  <a:pt x="571" y="687"/>
                  <a:pt x="577" y="701"/>
                </a:cubicBezTo>
                <a:cubicBezTo>
                  <a:pt x="604" y="765"/>
                  <a:pt x="666" y="803"/>
                  <a:pt x="732" y="803"/>
                </a:cubicBezTo>
                <a:cubicBezTo>
                  <a:pt x="746" y="984"/>
                  <a:pt x="746" y="984"/>
                  <a:pt x="746" y="984"/>
                </a:cubicBezTo>
                <a:cubicBezTo>
                  <a:pt x="742" y="984"/>
                  <a:pt x="739" y="985"/>
                  <a:pt x="737" y="986"/>
                </a:cubicBezTo>
                <a:cubicBezTo>
                  <a:pt x="713" y="996"/>
                  <a:pt x="702" y="1023"/>
                  <a:pt x="712" y="1047"/>
                </a:cubicBezTo>
                <a:cubicBezTo>
                  <a:pt x="721" y="1069"/>
                  <a:pt x="749" y="1081"/>
                  <a:pt x="772" y="1071"/>
                </a:cubicBezTo>
                <a:cubicBezTo>
                  <a:pt x="796" y="1061"/>
                  <a:pt x="807" y="1034"/>
                  <a:pt x="797" y="1011"/>
                </a:cubicBezTo>
                <a:cubicBezTo>
                  <a:pt x="791" y="996"/>
                  <a:pt x="778" y="986"/>
                  <a:pt x="762" y="983"/>
                </a:cubicBezTo>
                <a:cubicBezTo>
                  <a:pt x="748" y="802"/>
                  <a:pt x="748" y="802"/>
                  <a:pt x="748" y="802"/>
                </a:cubicBezTo>
                <a:cubicBezTo>
                  <a:pt x="764" y="800"/>
                  <a:pt x="780" y="797"/>
                  <a:pt x="796" y="790"/>
                </a:cubicBezTo>
                <a:cubicBezTo>
                  <a:pt x="844" y="770"/>
                  <a:pt x="877" y="730"/>
                  <a:pt x="891" y="684"/>
                </a:cubicBezTo>
                <a:cubicBezTo>
                  <a:pt x="1099" y="687"/>
                  <a:pt x="1099" y="687"/>
                  <a:pt x="1099" y="687"/>
                </a:cubicBezTo>
                <a:cubicBezTo>
                  <a:pt x="1100" y="694"/>
                  <a:pt x="1102" y="701"/>
                  <a:pt x="1104" y="706"/>
                </a:cubicBezTo>
                <a:cubicBezTo>
                  <a:pt x="1123" y="751"/>
                  <a:pt x="1173" y="771"/>
                  <a:pt x="1217" y="752"/>
                </a:cubicBezTo>
                <a:cubicBezTo>
                  <a:pt x="1261" y="734"/>
                  <a:pt x="1282" y="684"/>
                  <a:pt x="1263" y="639"/>
                </a:cubicBezTo>
                <a:cubicBezTo>
                  <a:pt x="1245" y="596"/>
                  <a:pt x="1195" y="575"/>
                  <a:pt x="1150" y="593"/>
                </a:cubicBezTo>
                <a:cubicBezTo>
                  <a:pt x="1118" y="607"/>
                  <a:pt x="1099" y="638"/>
                  <a:pt x="1098" y="671"/>
                </a:cubicBezTo>
                <a:cubicBezTo>
                  <a:pt x="896" y="668"/>
                  <a:pt x="896" y="668"/>
                  <a:pt x="896" y="668"/>
                </a:cubicBezTo>
                <a:cubicBezTo>
                  <a:pt x="901" y="637"/>
                  <a:pt x="899" y="602"/>
                  <a:pt x="886" y="571"/>
                </a:cubicBezTo>
                <a:cubicBezTo>
                  <a:pt x="882" y="560"/>
                  <a:pt x="877" y="551"/>
                  <a:pt x="871" y="543"/>
                </a:cubicBezTo>
                <a:cubicBezTo>
                  <a:pt x="954" y="495"/>
                  <a:pt x="954" y="495"/>
                  <a:pt x="954" y="495"/>
                </a:cubicBezTo>
                <a:cubicBezTo>
                  <a:pt x="967" y="508"/>
                  <a:pt x="987" y="512"/>
                  <a:pt x="1004" y="505"/>
                </a:cubicBezTo>
                <a:cubicBezTo>
                  <a:pt x="1028" y="495"/>
                  <a:pt x="1038" y="467"/>
                  <a:pt x="1029" y="444"/>
                </a:cubicBezTo>
                <a:cubicBezTo>
                  <a:pt x="1024" y="434"/>
                  <a:pt x="1016" y="426"/>
                  <a:pt x="1008" y="421"/>
                </a:cubicBezTo>
                <a:cubicBezTo>
                  <a:pt x="1037" y="295"/>
                  <a:pt x="1037" y="295"/>
                  <a:pt x="1037" y="295"/>
                </a:cubicBezTo>
                <a:cubicBezTo>
                  <a:pt x="1060" y="297"/>
                  <a:pt x="1085" y="295"/>
                  <a:pt x="1108" y="285"/>
                </a:cubicBezTo>
                <a:cubicBezTo>
                  <a:pt x="1149" y="268"/>
                  <a:pt x="1179" y="232"/>
                  <a:pt x="1188" y="191"/>
                </a:cubicBezTo>
                <a:cubicBezTo>
                  <a:pt x="1347" y="224"/>
                  <a:pt x="1347" y="224"/>
                  <a:pt x="1347" y="224"/>
                </a:cubicBezTo>
                <a:cubicBezTo>
                  <a:pt x="1345" y="237"/>
                  <a:pt x="1347" y="251"/>
                  <a:pt x="1352" y="264"/>
                </a:cubicBezTo>
                <a:cubicBezTo>
                  <a:pt x="1371" y="308"/>
                  <a:pt x="1422" y="328"/>
                  <a:pt x="1465" y="310"/>
                </a:cubicBezTo>
                <a:cubicBezTo>
                  <a:pt x="1510" y="291"/>
                  <a:pt x="1530" y="241"/>
                  <a:pt x="1511" y="197"/>
                </a:cubicBezTo>
                <a:close/>
                <a:moveTo>
                  <a:pt x="40" y="569"/>
                </a:moveTo>
                <a:cubicBezTo>
                  <a:pt x="32" y="572"/>
                  <a:pt x="22" y="568"/>
                  <a:pt x="19" y="560"/>
                </a:cubicBezTo>
                <a:cubicBezTo>
                  <a:pt x="15" y="551"/>
                  <a:pt x="19" y="542"/>
                  <a:pt x="28" y="538"/>
                </a:cubicBezTo>
                <a:cubicBezTo>
                  <a:pt x="36" y="535"/>
                  <a:pt x="47" y="538"/>
                  <a:pt x="50" y="547"/>
                </a:cubicBezTo>
                <a:cubicBezTo>
                  <a:pt x="54" y="555"/>
                  <a:pt x="49" y="565"/>
                  <a:pt x="40" y="569"/>
                </a:cubicBezTo>
                <a:close/>
                <a:moveTo>
                  <a:pt x="217" y="400"/>
                </a:moveTo>
                <a:cubicBezTo>
                  <a:pt x="211" y="388"/>
                  <a:pt x="217" y="374"/>
                  <a:pt x="228" y="370"/>
                </a:cubicBezTo>
                <a:cubicBezTo>
                  <a:pt x="240" y="365"/>
                  <a:pt x="253" y="370"/>
                  <a:pt x="258" y="383"/>
                </a:cubicBezTo>
                <a:cubicBezTo>
                  <a:pt x="263" y="394"/>
                  <a:pt x="258" y="407"/>
                  <a:pt x="246" y="412"/>
                </a:cubicBezTo>
                <a:cubicBezTo>
                  <a:pt x="235" y="417"/>
                  <a:pt x="221" y="412"/>
                  <a:pt x="217" y="400"/>
                </a:cubicBezTo>
                <a:close/>
                <a:moveTo>
                  <a:pt x="271" y="765"/>
                </a:moveTo>
                <a:cubicBezTo>
                  <a:pt x="223" y="785"/>
                  <a:pt x="168" y="762"/>
                  <a:pt x="148" y="714"/>
                </a:cubicBezTo>
                <a:cubicBezTo>
                  <a:pt x="128" y="667"/>
                  <a:pt x="151" y="611"/>
                  <a:pt x="198" y="592"/>
                </a:cubicBezTo>
                <a:cubicBezTo>
                  <a:pt x="246" y="571"/>
                  <a:pt x="301" y="594"/>
                  <a:pt x="321" y="641"/>
                </a:cubicBezTo>
                <a:cubicBezTo>
                  <a:pt x="341" y="689"/>
                  <a:pt x="319" y="744"/>
                  <a:pt x="271" y="765"/>
                </a:cubicBezTo>
                <a:close/>
                <a:moveTo>
                  <a:pt x="434" y="870"/>
                </a:moveTo>
                <a:cubicBezTo>
                  <a:pt x="457" y="860"/>
                  <a:pt x="482" y="871"/>
                  <a:pt x="491" y="892"/>
                </a:cubicBezTo>
                <a:cubicBezTo>
                  <a:pt x="501" y="915"/>
                  <a:pt x="490" y="941"/>
                  <a:pt x="468" y="950"/>
                </a:cubicBezTo>
                <a:cubicBezTo>
                  <a:pt x="446" y="959"/>
                  <a:pt x="420" y="949"/>
                  <a:pt x="411" y="926"/>
                </a:cubicBezTo>
                <a:cubicBezTo>
                  <a:pt x="402" y="904"/>
                  <a:pt x="412" y="879"/>
                  <a:pt x="434" y="870"/>
                </a:cubicBezTo>
                <a:close/>
                <a:moveTo>
                  <a:pt x="775" y="1020"/>
                </a:moveTo>
                <a:cubicBezTo>
                  <a:pt x="780" y="1031"/>
                  <a:pt x="775" y="1045"/>
                  <a:pt x="763" y="1050"/>
                </a:cubicBezTo>
                <a:cubicBezTo>
                  <a:pt x="752" y="1054"/>
                  <a:pt x="738" y="1049"/>
                  <a:pt x="734" y="1038"/>
                </a:cubicBezTo>
                <a:cubicBezTo>
                  <a:pt x="729" y="1025"/>
                  <a:pt x="734" y="1012"/>
                  <a:pt x="745" y="1007"/>
                </a:cubicBezTo>
                <a:cubicBezTo>
                  <a:pt x="757" y="1002"/>
                  <a:pt x="770" y="1008"/>
                  <a:pt x="775" y="1020"/>
                </a:cubicBezTo>
                <a:close/>
                <a:moveTo>
                  <a:pt x="768" y="724"/>
                </a:moveTo>
                <a:cubicBezTo>
                  <a:pt x="718" y="745"/>
                  <a:pt x="660" y="721"/>
                  <a:pt x="639" y="671"/>
                </a:cubicBezTo>
                <a:cubicBezTo>
                  <a:pt x="618" y="621"/>
                  <a:pt x="641" y="563"/>
                  <a:pt x="691" y="542"/>
                </a:cubicBezTo>
                <a:cubicBezTo>
                  <a:pt x="742" y="521"/>
                  <a:pt x="799" y="545"/>
                  <a:pt x="820" y="595"/>
                </a:cubicBezTo>
                <a:cubicBezTo>
                  <a:pt x="841" y="645"/>
                  <a:pt x="818" y="703"/>
                  <a:pt x="768" y="724"/>
                </a:cubicBezTo>
                <a:close/>
                <a:moveTo>
                  <a:pt x="1167" y="633"/>
                </a:moveTo>
                <a:cubicBezTo>
                  <a:pt x="1190" y="624"/>
                  <a:pt x="1215" y="634"/>
                  <a:pt x="1224" y="656"/>
                </a:cubicBezTo>
                <a:cubicBezTo>
                  <a:pt x="1234" y="678"/>
                  <a:pt x="1223" y="704"/>
                  <a:pt x="1201" y="714"/>
                </a:cubicBezTo>
                <a:cubicBezTo>
                  <a:pt x="1179" y="723"/>
                  <a:pt x="1153" y="712"/>
                  <a:pt x="1144" y="690"/>
                </a:cubicBezTo>
                <a:cubicBezTo>
                  <a:pt x="1135" y="668"/>
                  <a:pt x="1145" y="642"/>
                  <a:pt x="1167" y="633"/>
                </a:cubicBezTo>
                <a:close/>
                <a:moveTo>
                  <a:pt x="995" y="483"/>
                </a:moveTo>
                <a:cubicBezTo>
                  <a:pt x="983" y="488"/>
                  <a:pt x="970" y="482"/>
                  <a:pt x="965" y="471"/>
                </a:cubicBezTo>
                <a:cubicBezTo>
                  <a:pt x="960" y="459"/>
                  <a:pt x="966" y="445"/>
                  <a:pt x="977" y="440"/>
                </a:cubicBezTo>
                <a:cubicBezTo>
                  <a:pt x="988" y="436"/>
                  <a:pt x="1002" y="441"/>
                  <a:pt x="1007" y="453"/>
                </a:cubicBezTo>
                <a:cubicBezTo>
                  <a:pt x="1012" y="465"/>
                  <a:pt x="1006" y="478"/>
                  <a:pt x="995" y="483"/>
                </a:cubicBezTo>
                <a:close/>
                <a:moveTo>
                  <a:pt x="1085" y="230"/>
                </a:moveTo>
                <a:cubicBezTo>
                  <a:pt x="1044" y="248"/>
                  <a:pt x="996" y="229"/>
                  <a:pt x="978" y="187"/>
                </a:cubicBezTo>
                <a:cubicBezTo>
                  <a:pt x="961" y="145"/>
                  <a:pt x="981" y="98"/>
                  <a:pt x="1022" y="81"/>
                </a:cubicBezTo>
                <a:cubicBezTo>
                  <a:pt x="1063" y="63"/>
                  <a:pt x="1110" y="83"/>
                  <a:pt x="1128" y="124"/>
                </a:cubicBezTo>
                <a:cubicBezTo>
                  <a:pt x="1145" y="166"/>
                  <a:pt x="1126" y="213"/>
                  <a:pt x="1085" y="230"/>
                </a:cubicBezTo>
                <a:close/>
                <a:moveTo>
                  <a:pt x="1449" y="271"/>
                </a:moveTo>
                <a:cubicBezTo>
                  <a:pt x="1427" y="280"/>
                  <a:pt x="1402" y="270"/>
                  <a:pt x="1392" y="247"/>
                </a:cubicBezTo>
                <a:cubicBezTo>
                  <a:pt x="1383" y="225"/>
                  <a:pt x="1393" y="200"/>
                  <a:pt x="1415" y="191"/>
                </a:cubicBezTo>
                <a:cubicBezTo>
                  <a:pt x="1438" y="181"/>
                  <a:pt x="1463" y="192"/>
                  <a:pt x="1472" y="213"/>
                </a:cubicBezTo>
                <a:cubicBezTo>
                  <a:pt x="1482" y="236"/>
                  <a:pt x="1471" y="262"/>
                  <a:pt x="1449" y="271"/>
                </a:cubicBezTo>
                <a:close/>
              </a:path>
            </a:pathLst>
          </a:custGeom>
          <a:solidFill>
            <a:srgbClr val="FFFFFF">
              <a:alpha val="20000"/>
            </a:srgbClr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ptos" panose="020B00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16255" y="410829"/>
            <a:ext cx="11134410" cy="107312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16255" y="1483952"/>
            <a:ext cx="11134410" cy="4321536"/>
          </a:xfrm>
          <a:prstGeom prst="rect">
            <a:avLst/>
          </a:prstGeom>
        </p:spPr>
        <p:txBody>
          <a:bodyPr vert="horz" lIns="10798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287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7" rtl="0" eaLnBrk="1" latinLnBrk="0" hangingPunct="1">
        <a:spcBef>
          <a:spcPct val="0"/>
        </a:spcBef>
        <a:buNone/>
        <a:defRPr lang="en-US" sz="3600" b="0" kern="1200" dirty="0">
          <a:solidFill>
            <a:schemeClr val="tx1"/>
          </a:solidFill>
          <a:latin typeface="Aptos" panose="020B0004020202020204" pitchFamily="34" charset="0"/>
          <a:ea typeface="+mj-ea"/>
          <a:cs typeface="+mj-cs"/>
        </a:defRPr>
      </a:lvl1pPr>
    </p:titleStyle>
    <p:bodyStyle>
      <a:lvl1pPr marL="272967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300" kern="1200">
          <a:solidFill>
            <a:schemeClr val="tx1"/>
          </a:solidFill>
          <a:latin typeface="Aptos Light" panose="020B0004020202020204" pitchFamily="34" charset="0"/>
          <a:ea typeface="+mn-ea"/>
          <a:cs typeface="+mn-cs"/>
        </a:defRPr>
      </a:lvl1pPr>
      <a:lvl2pPr marL="807798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Aptos Light" panose="020B0004020202020204" pitchFamily="34" charset="0"/>
          <a:ea typeface="+mn-ea"/>
          <a:cs typeface="+mn-cs"/>
        </a:defRPr>
      </a:lvl2pPr>
      <a:lvl3pPr marL="1080764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900" kern="1200">
          <a:solidFill>
            <a:schemeClr val="tx1"/>
          </a:solidFill>
          <a:latin typeface="Aptos Light" panose="020B0004020202020204" pitchFamily="34" charset="0"/>
          <a:ea typeface="+mn-ea"/>
          <a:cs typeface="+mn-cs"/>
        </a:defRPr>
      </a:lvl3pPr>
      <a:lvl4pPr marL="1436256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ptos Light" panose="020B0004020202020204" pitchFamily="34" charset="0"/>
          <a:ea typeface="+mn-ea"/>
          <a:cs typeface="+mn-cs"/>
        </a:defRPr>
      </a:lvl4pPr>
      <a:lvl5pPr marL="1793335" indent="-179335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ptos Light" panose="020B0004020202020204" pitchFamily="34" charset="0"/>
          <a:ea typeface="+mn-ea"/>
          <a:cs typeface="+mn-cs"/>
        </a:defRPr>
      </a:lvl5pPr>
      <a:lvl6pPr marL="2513847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0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2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7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8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516255" y="410829"/>
            <a:ext cx="11134410" cy="107312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516255" y="1483952"/>
            <a:ext cx="11134410" cy="4321536"/>
          </a:xfrm>
          <a:prstGeom prst="rect">
            <a:avLst/>
          </a:prstGeom>
        </p:spPr>
        <p:txBody>
          <a:bodyPr vert="horz" lIns="10798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4" name="Freeform 7"/>
          <p:cNvSpPr>
            <a:spLocks noEditPoints="1"/>
          </p:cNvSpPr>
          <p:nvPr userDrawn="1"/>
        </p:nvSpPr>
        <p:spPr bwMode="auto">
          <a:xfrm rot="16756386">
            <a:off x="9541985" y="868880"/>
            <a:ext cx="3700399" cy="2613310"/>
          </a:xfrm>
          <a:custGeom>
            <a:avLst/>
            <a:gdLst>
              <a:gd name="T0" fmla="*/ 1349 w 1530"/>
              <a:gd name="T1" fmla="*/ 208 h 1081"/>
              <a:gd name="T2" fmla="*/ 1000 w 1530"/>
              <a:gd name="T3" fmla="*/ 30 h 1081"/>
              <a:gd name="T4" fmla="*/ 991 w 1530"/>
              <a:gd name="T5" fmla="*/ 416 h 1081"/>
              <a:gd name="T6" fmla="*/ 944 w 1530"/>
              <a:gd name="T7" fmla="*/ 482 h 1081"/>
              <a:gd name="T8" fmla="*/ 563 w 1530"/>
              <a:gd name="T9" fmla="*/ 643 h 1081"/>
              <a:gd name="T10" fmla="*/ 248 w 1530"/>
              <a:gd name="T11" fmla="*/ 520 h 1081"/>
              <a:gd name="T12" fmla="*/ 280 w 1530"/>
              <a:gd name="T13" fmla="*/ 374 h 1081"/>
              <a:gd name="T14" fmla="*/ 230 w 1530"/>
              <a:gd name="T15" fmla="*/ 437 h 1081"/>
              <a:gd name="T16" fmla="*/ 109 w 1530"/>
              <a:gd name="T17" fmla="*/ 582 h 1081"/>
              <a:gd name="T18" fmla="*/ 23 w 1530"/>
              <a:gd name="T19" fmla="*/ 526 h 1081"/>
              <a:gd name="T20" fmla="*/ 55 w 1530"/>
              <a:gd name="T21" fmla="*/ 575 h 1081"/>
              <a:gd name="T22" fmla="*/ 143 w 1530"/>
              <a:gd name="T23" fmla="*/ 811 h 1081"/>
              <a:gd name="T24" fmla="*/ 157 w 1530"/>
              <a:gd name="T25" fmla="*/ 820 h 1081"/>
              <a:gd name="T26" fmla="*/ 387 w 1530"/>
              <a:gd name="T27" fmla="*/ 851 h 1081"/>
              <a:gd name="T28" fmla="*/ 530 w 1530"/>
              <a:gd name="T29" fmla="*/ 876 h 1081"/>
              <a:gd name="T30" fmla="*/ 348 w 1530"/>
              <a:gd name="T31" fmla="*/ 795 h 1081"/>
              <a:gd name="T32" fmla="*/ 577 w 1530"/>
              <a:gd name="T33" fmla="*/ 701 h 1081"/>
              <a:gd name="T34" fmla="*/ 737 w 1530"/>
              <a:gd name="T35" fmla="*/ 986 h 1081"/>
              <a:gd name="T36" fmla="*/ 797 w 1530"/>
              <a:gd name="T37" fmla="*/ 1011 h 1081"/>
              <a:gd name="T38" fmla="*/ 796 w 1530"/>
              <a:gd name="T39" fmla="*/ 790 h 1081"/>
              <a:gd name="T40" fmla="*/ 1104 w 1530"/>
              <a:gd name="T41" fmla="*/ 706 h 1081"/>
              <a:gd name="T42" fmla="*/ 1150 w 1530"/>
              <a:gd name="T43" fmla="*/ 593 h 1081"/>
              <a:gd name="T44" fmla="*/ 886 w 1530"/>
              <a:gd name="T45" fmla="*/ 571 h 1081"/>
              <a:gd name="T46" fmla="*/ 1004 w 1530"/>
              <a:gd name="T47" fmla="*/ 505 h 1081"/>
              <a:gd name="T48" fmla="*/ 1037 w 1530"/>
              <a:gd name="T49" fmla="*/ 295 h 1081"/>
              <a:gd name="T50" fmla="*/ 1347 w 1530"/>
              <a:gd name="T51" fmla="*/ 224 h 1081"/>
              <a:gd name="T52" fmla="*/ 1511 w 1530"/>
              <a:gd name="T53" fmla="*/ 197 h 1081"/>
              <a:gd name="T54" fmla="*/ 28 w 1530"/>
              <a:gd name="T55" fmla="*/ 538 h 1081"/>
              <a:gd name="T56" fmla="*/ 217 w 1530"/>
              <a:gd name="T57" fmla="*/ 400 h 1081"/>
              <a:gd name="T58" fmla="*/ 246 w 1530"/>
              <a:gd name="T59" fmla="*/ 412 h 1081"/>
              <a:gd name="T60" fmla="*/ 148 w 1530"/>
              <a:gd name="T61" fmla="*/ 714 h 1081"/>
              <a:gd name="T62" fmla="*/ 271 w 1530"/>
              <a:gd name="T63" fmla="*/ 765 h 1081"/>
              <a:gd name="T64" fmla="*/ 468 w 1530"/>
              <a:gd name="T65" fmla="*/ 950 h 1081"/>
              <a:gd name="T66" fmla="*/ 775 w 1530"/>
              <a:gd name="T67" fmla="*/ 1020 h 1081"/>
              <a:gd name="T68" fmla="*/ 745 w 1530"/>
              <a:gd name="T69" fmla="*/ 1007 h 1081"/>
              <a:gd name="T70" fmla="*/ 639 w 1530"/>
              <a:gd name="T71" fmla="*/ 671 h 1081"/>
              <a:gd name="T72" fmla="*/ 768 w 1530"/>
              <a:gd name="T73" fmla="*/ 724 h 1081"/>
              <a:gd name="T74" fmla="*/ 1201 w 1530"/>
              <a:gd name="T75" fmla="*/ 714 h 1081"/>
              <a:gd name="T76" fmla="*/ 995 w 1530"/>
              <a:gd name="T77" fmla="*/ 483 h 1081"/>
              <a:gd name="T78" fmla="*/ 1007 w 1530"/>
              <a:gd name="T79" fmla="*/ 453 h 1081"/>
              <a:gd name="T80" fmla="*/ 978 w 1530"/>
              <a:gd name="T81" fmla="*/ 187 h 1081"/>
              <a:gd name="T82" fmla="*/ 1085 w 1530"/>
              <a:gd name="T83" fmla="*/ 230 h 1081"/>
              <a:gd name="T84" fmla="*/ 1415 w 1530"/>
              <a:gd name="T85" fmla="*/ 191 h 10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30" h="1081">
                <a:moveTo>
                  <a:pt x="1511" y="197"/>
                </a:moveTo>
                <a:cubicBezTo>
                  <a:pt x="1493" y="154"/>
                  <a:pt x="1443" y="132"/>
                  <a:pt x="1398" y="151"/>
                </a:cubicBezTo>
                <a:cubicBezTo>
                  <a:pt x="1373" y="162"/>
                  <a:pt x="1356" y="183"/>
                  <a:pt x="1349" y="208"/>
                </a:cubicBezTo>
                <a:cubicBezTo>
                  <a:pt x="1192" y="175"/>
                  <a:pt x="1192" y="175"/>
                  <a:pt x="1192" y="175"/>
                </a:cubicBezTo>
                <a:cubicBezTo>
                  <a:pt x="1195" y="152"/>
                  <a:pt x="1192" y="128"/>
                  <a:pt x="1182" y="104"/>
                </a:cubicBezTo>
                <a:cubicBezTo>
                  <a:pt x="1152" y="33"/>
                  <a:pt x="1071" y="0"/>
                  <a:pt x="1000" y="30"/>
                </a:cubicBezTo>
                <a:cubicBezTo>
                  <a:pt x="930" y="59"/>
                  <a:pt x="896" y="140"/>
                  <a:pt x="926" y="211"/>
                </a:cubicBezTo>
                <a:cubicBezTo>
                  <a:pt x="944" y="253"/>
                  <a:pt x="980" y="282"/>
                  <a:pt x="1022" y="292"/>
                </a:cubicBezTo>
                <a:cubicBezTo>
                  <a:pt x="991" y="416"/>
                  <a:pt x="991" y="416"/>
                  <a:pt x="991" y="416"/>
                </a:cubicBezTo>
                <a:cubicBezTo>
                  <a:pt x="984" y="415"/>
                  <a:pt x="976" y="416"/>
                  <a:pt x="968" y="420"/>
                </a:cubicBezTo>
                <a:cubicBezTo>
                  <a:pt x="944" y="429"/>
                  <a:pt x="933" y="456"/>
                  <a:pt x="943" y="480"/>
                </a:cubicBezTo>
                <a:cubicBezTo>
                  <a:pt x="944" y="481"/>
                  <a:pt x="944" y="481"/>
                  <a:pt x="944" y="482"/>
                </a:cubicBezTo>
                <a:cubicBezTo>
                  <a:pt x="861" y="529"/>
                  <a:pt x="861" y="529"/>
                  <a:pt x="861" y="529"/>
                </a:cubicBezTo>
                <a:cubicBezTo>
                  <a:pt x="815" y="474"/>
                  <a:pt x="736" y="451"/>
                  <a:pt x="666" y="481"/>
                </a:cubicBezTo>
                <a:cubicBezTo>
                  <a:pt x="599" y="509"/>
                  <a:pt x="560" y="574"/>
                  <a:pt x="563" y="643"/>
                </a:cubicBezTo>
                <a:cubicBezTo>
                  <a:pt x="394" y="659"/>
                  <a:pt x="394" y="659"/>
                  <a:pt x="394" y="659"/>
                </a:cubicBezTo>
                <a:cubicBezTo>
                  <a:pt x="392" y="646"/>
                  <a:pt x="388" y="632"/>
                  <a:pt x="383" y="619"/>
                </a:cubicBezTo>
                <a:cubicBezTo>
                  <a:pt x="359" y="561"/>
                  <a:pt x="306" y="525"/>
                  <a:pt x="248" y="520"/>
                </a:cubicBezTo>
                <a:cubicBezTo>
                  <a:pt x="246" y="437"/>
                  <a:pt x="246" y="437"/>
                  <a:pt x="246" y="437"/>
                </a:cubicBezTo>
                <a:cubicBezTo>
                  <a:pt x="249" y="435"/>
                  <a:pt x="252" y="435"/>
                  <a:pt x="255" y="434"/>
                </a:cubicBezTo>
                <a:cubicBezTo>
                  <a:pt x="279" y="424"/>
                  <a:pt x="290" y="396"/>
                  <a:pt x="280" y="374"/>
                </a:cubicBezTo>
                <a:cubicBezTo>
                  <a:pt x="270" y="350"/>
                  <a:pt x="243" y="339"/>
                  <a:pt x="220" y="349"/>
                </a:cubicBezTo>
                <a:cubicBezTo>
                  <a:pt x="196" y="359"/>
                  <a:pt x="185" y="386"/>
                  <a:pt x="195" y="409"/>
                </a:cubicBezTo>
                <a:cubicBezTo>
                  <a:pt x="201" y="424"/>
                  <a:pt x="215" y="434"/>
                  <a:pt x="230" y="437"/>
                </a:cubicBezTo>
                <a:cubicBezTo>
                  <a:pt x="232" y="521"/>
                  <a:pt x="232" y="521"/>
                  <a:pt x="232" y="521"/>
                </a:cubicBezTo>
                <a:cubicBezTo>
                  <a:pt x="212" y="521"/>
                  <a:pt x="192" y="525"/>
                  <a:pt x="173" y="533"/>
                </a:cubicBezTo>
                <a:cubicBezTo>
                  <a:pt x="148" y="544"/>
                  <a:pt x="126" y="561"/>
                  <a:pt x="109" y="582"/>
                </a:cubicBezTo>
                <a:cubicBezTo>
                  <a:pt x="63" y="561"/>
                  <a:pt x="63" y="561"/>
                  <a:pt x="63" y="561"/>
                </a:cubicBezTo>
                <a:cubicBezTo>
                  <a:pt x="64" y="554"/>
                  <a:pt x="64" y="548"/>
                  <a:pt x="61" y="542"/>
                </a:cubicBezTo>
                <a:cubicBezTo>
                  <a:pt x="55" y="527"/>
                  <a:pt x="38" y="520"/>
                  <a:pt x="23" y="526"/>
                </a:cubicBezTo>
                <a:cubicBezTo>
                  <a:pt x="7" y="533"/>
                  <a:pt x="0" y="550"/>
                  <a:pt x="7" y="565"/>
                </a:cubicBezTo>
                <a:cubicBezTo>
                  <a:pt x="13" y="580"/>
                  <a:pt x="30" y="587"/>
                  <a:pt x="46" y="581"/>
                </a:cubicBezTo>
                <a:cubicBezTo>
                  <a:pt x="49" y="579"/>
                  <a:pt x="52" y="577"/>
                  <a:pt x="55" y="575"/>
                </a:cubicBezTo>
                <a:cubicBezTo>
                  <a:pt x="99" y="595"/>
                  <a:pt x="99" y="595"/>
                  <a:pt x="99" y="595"/>
                </a:cubicBezTo>
                <a:cubicBezTo>
                  <a:pt x="73" y="638"/>
                  <a:pt x="67" y="692"/>
                  <a:pt x="88" y="742"/>
                </a:cubicBezTo>
                <a:cubicBezTo>
                  <a:pt x="100" y="771"/>
                  <a:pt x="120" y="795"/>
                  <a:pt x="143" y="811"/>
                </a:cubicBezTo>
                <a:cubicBezTo>
                  <a:pt x="54" y="940"/>
                  <a:pt x="17" y="993"/>
                  <a:pt x="2" y="1015"/>
                </a:cubicBezTo>
                <a:cubicBezTo>
                  <a:pt x="2" y="1043"/>
                  <a:pt x="2" y="1043"/>
                  <a:pt x="2" y="1043"/>
                </a:cubicBezTo>
                <a:cubicBezTo>
                  <a:pt x="157" y="820"/>
                  <a:pt x="157" y="820"/>
                  <a:pt x="157" y="820"/>
                </a:cubicBezTo>
                <a:cubicBezTo>
                  <a:pt x="199" y="843"/>
                  <a:pt x="250" y="848"/>
                  <a:pt x="297" y="828"/>
                </a:cubicBezTo>
                <a:cubicBezTo>
                  <a:pt x="312" y="822"/>
                  <a:pt x="325" y="814"/>
                  <a:pt x="336" y="805"/>
                </a:cubicBezTo>
                <a:cubicBezTo>
                  <a:pt x="387" y="851"/>
                  <a:pt x="387" y="851"/>
                  <a:pt x="387" y="851"/>
                </a:cubicBezTo>
                <a:cubicBezTo>
                  <a:pt x="365" y="875"/>
                  <a:pt x="358" y="911"/>
                  <a:pt x="371" y="943"/>
                </a:cubicBezTo>
                <a:cubicBezTo>
                  <a:pt x="390" y="987"/>
                  <a:pt x="440" y="1007"/>
                  <a:pt x="484" y="989"/>
                </a:cubicBezTo>
                <a:cubicBezTo>
                  <a:pt x="528" y="970"/>
                  <a:pt x="549" y="921"/>
                  <a:pt x="530" y="876"/>
                </a:cubicBezTo>
                <a:cubicBezTo>
                  <a:pt x="512" y="833"/>
                  <a:pt x="462" y="811"/>
                  <a:pt x="417" y="830"/>
                </a:cubicBezTo>
                <a:cubicBezTo>
                  <a:pt x="412" y="832"/>
                  <a:pt x="405" y="836"/>
                  <a:pt x="400" y="840"/>
                </a:cubicBezTo>
                <a:cubicBezTo>
                  <a:pt x="348" y="795"/>
                  <a:pt x="348" y="795"/>
                  <a:pt x="348" y="795"/>
                </a:cubicBezTo>
                <a:cubicBezTo>
                  <a:pt x="379" y="764"/>
                  <a:pt x="396" y="720"/>
                  <a:pt x="396" y="675"/>
                </a:cubicBezTo>
                <a:cubicBezTo>
                  <a:pt x="565" y="659"/>
                  <a:pt x="565" y="659"/>
                  <a:pt x="565" y="659"/>
                </a:cubicBezTo>
                <a:cubicBezTo>
                  <a:pt x="567" y="673"/>
                  <a:pt x="571" y="687"/>
                  <a:pt x="577" y="701"/>
                </a:cubicBezTo>
                <a:cubicBezTo>
                  <a:pt x="604" y="765"/>
                  <a:pt x="666" y="803"/>
                  <a:pt x="732" y="803"/>
                </a:cubicBezTo>
                <a:cubicBezTo>
                  <a:pt x="746" y="984"/>
                  <a:pt x="746" y="984"/>
                  <a:pt x="746" y="984"/>
                </a:cubicBezTo>
                <a:cubicBezTo>
                  <a:pt x="742" y="984"/>
                  <a:pt x="739" y="985"/>
                  <a:pt x="737" y="986"/>
                </a:cubicBezTo>
                <a:cubicBezTo>
                  <a:pt x="713" y="996"/>
                  <a:pt x="702" y="1023"/>
                  <a:pt x="712" y="1047"/>
                </a:cubicBezTo>
                <a:cubicBezTo>
                  <a:pt x="721" y="1069"/>
                  <a:pt x="749" y="1081"/>
                  <a:pt x="772" y="1071"/>
                </a:cubicBezTo>
                <a:cubicBezTo>
                  <a:pt x="796" y="1061"/>
                  <a:pt x="807" y="1034"/>
                  <a:pt x="797" y="1011"/>
                </a:cubicBezTo>
                <a:cubicBezTo>
                  <a:pt x="791" y="996"/>
                  <a:pt x="778" y="986"/>
                  <a:pt x="762" y="983"/>
                </a:cubicBezTo>
                <a:cubicBezTo>
                  <a:pt x="748" y="802"/>
                  <a:pt x="748" y="802"/>
                  <a:pt x="748" y="802"/>
                </a:cubicBezTo>
                <a:cubicBezTo>
                  <a:pt x="764" y="800"/>
                  <a:pt x="780" y="797"/>
                  <a:pt x="796" y="790"/>
                </a:cubicBezTo>
                <a:cubicBezTo>
                  <a:pt x="844" y="770"/>
                  <a:pt x="877" y="730"/>
                  <a:pt x="891" y="684"/>
                </a:cubicBezTo>
                <a:cubicBezTo>
                  <a:pt x="1099" y="687"/>
                  <a:pt x="1099" y="687"/>
                  <a:pt x="1099" y="687"/>
                </a:cubicBezTo>
                <a:cubicBezTo>
                  <a:pt x="1100" y="694"/>
                  <a:pt x="1102" y="701"/>
                  <a:pt x="1104" y="706"/>
                </a:cubicBezTo>
                <a:cubicBezTo>
                  <a:pt x="1123" y="751"/>
                  <a:pt x="1173" y="771"/>
                  <a:pt x="1217" y="752"/>
                </a:cubicBezTo>
                <a:cubicBezTo>
                  <a:pt x="1261" y="734"/>
                  <a:pt x="1282" y="684"/>
                  <a:pt x="1263" y="639"/>
                </a:cubicBezTo>
                <a:cubicBezTo>
                  <a:pt x="1245" y="596"/>
                  <a:pt x="1195" y="575"/>
                  <a:pt x="1150" y="593"/>
                </a:cubicBezTo>
                <a:cubicBezTo>
                  <a:pt x="1118" y="607"/>
                  <a:pt x="1099" y="638"/>
                  <a:pt x="1098" y="671"/>
                </a:cubicBezTo>
                <a:cubicBezTo>
                  <a:pt x="896" y="668"/>
                  <a:pt x="896" y="668"/>
                  <a:pt x="896" y="668"/>
                </a:cubicBezTo>
                <a:cubicBezTo>
                  <a:pt x="901" y="637"/>
                  <a:pt x="899" y="602"/>
                  <a:pt x="886" y="571"/>
                </a:cubicBezTo>
                <a:cubicBezTo>
                  <a:pt x="882" y="560"/>
                  <a:pt x="877" y="551"/>
                  <a:pt x="871" y="543"/>
                </a:cubicBezTo>
                <a:cubicBezTo>
                  <a:pt x="954" y="495"/>
                  <a:pt x="954" y="495"/>
                  <a:pt x="954" y="495"/>
                </a:cubicBezTo>
                <a:cubicBezTo>
                  <a:pt x="967" y="508"/>
                  <a:pt x="987" y="512"/>
                  <a:pt x="1004" y="505"/>
                </a:cubicBezTo>
                <a:cubicBezTo>
                  <a:pt x="1028" y="495"/>
                  <a:pt x="1038" y="467"/>
                  <a:pt x="1029" y="444"/>
                </a:cubicBezTo>
                <a:cubicBezTo>
                  <a:pt x="1024" y="434"/>
                  <a:pt x="1016" y="426"/>
                  <a:pt x="1008" y="421"/>
                </a:cubicBezTo>
                <a:cubicBezTo>
                  <a:pt x="1037" y="295"/>
                  <a:pt x="1037" y="295"/>
                  <a:pt x="1037" y="295"/>
                </a:cubicBezTo>
                <a:cubicBezTo>
                  <a:pt x="1060" y="297"/>
                  <a:pt x="1085" y="295"/>
                  <a:pt x="1108" y="285"/>
                </a:cubicBezTo>
                <a:cubicBezTo>
                  <a:pt x="1149" y="268"/>
                  <a:pt x="1179" y="232"/>
                  <a:pt x="1188" y="191"/>
                </a:cubicBezTo>
                <a:cubicBezTo>
                  <a:pt x="1347" y="224"/>
                  <a:pt x="1347" y="224"/>
                  <a:pt x="1347" y="224"/>
                </a:cubicBezTo>
                <a:cubicBezTo>
                  <a:pt x="1345" y="237"/>
                  <a:pt x="1347" y="251"/>
                  <a:pt x="1352" y="264"/>
                </a:cubicBezTo>
                <a:cubicBezTo>
                  <a:pt x="1371" y="308"/>
                  <a:pt x="1422" y="328"/>
                  <a:pt x="1465" y="310"/>
                </a:cubicBezTo>
                <a:cubicBezTo>
                  <a:pt x="1510" y="291"/>
                  <a:pt x="1530" y="241"/>
                  <a:pt x="1511" y="197"/>
                </a:cubicBezTo>
                <a:close/>
                <a:moveTo>
                  <a:pt x="40" y="569"/>
                </a:moveTo>
                <a:cubicBezTo>
                  <a:pt x="32" y="572"/>
                  <a:pt x="22" y="568"/>
                  <a:pt x="19" y="560"/>
                </a:cubicBezTo>
                <a:cubicBezTo>
                  <a:pt x="15" y="551"/>
                  <a:pt x="19" y="542"/>
                  <a:pt x="28" y="538"/>
                </a:cubicBezTo>
                <a:cubicBezTo>
                  <a:pt x="36" y="535"/>
                  <a:pt x="47" y="538"/>
                  <a:pt x="50" y="547"/>
                </a:cubicBezTo>
                <a:cubicBezTo>
                  <a:pt x="54" y="555"/>
                  <a:pt x="49" y="565"/>
                  <a:pt x="40" y="569"/>
                </a:cubicBezTo>
                <a:close/>
                <a:moveTo>
                  <a:pt x="217" y="400"/>
                </a:moveTo>
                <a:cubicBezTo>
                  <a:pt x="211" y="388"/>
                  <a:pt x="217" y="374"/>
                  <a:pt x="228" y="370"/>
                </a:cubicBezTo>
                <a:cubicBezTo>
                  <a:pt x="240" y="365"/>
                  <a:pt x="253" y="370"/>
                  <a:pt x="258" y="383"/>
                </a:cubicBezTo>
                <a:cubicBezTo>
                  <a:pt x="263" y="394"/>
                  <a:pt x="258" y="407"/>
                  <a:pt x="246" y="412"/>
                </a:cubicBezTo>
                <a:cubicBezTo>
                  <a:pt x="235" y="417"/>
                  <a:pt x="221" y="412"/>
                  <a:pt x="217" y="400"/>
                </a:cubicBezTo>
                <a:close/>
                <a:moveTo>
                  <a:pt x="271" y="765"/>
                </a:moveTo>
                <a:cubicBezTo>
                  <a:pt x="223" y="785"/>
                  <a:pt x="168" y="762"/>
                  <a:pt x="148" y="714"/>
                </a:cubicBezTo>
                <a:cubicBezTo>
                  <a:pt x="128" y="667"/>
                  <a:pt x="151" y="611"/>
                  <a:pt x="198" y="592"/>
                </a:cubicBezTo>
                <a:cubicBezTo>
                  <a:pt x="246" y="571"/>
                  <a:pt x="301" y="594"/>
                  <a:pt x="321" y="641"/>
                </a:cubicBezTo>
                <a:cubicBezTo>
                  <a:pt x="341" y="689"/>
                  <a:pt x="319" y="744"/>
                  <a:pt x="271" y="765"/>
                </a:cubicBezTo>
                <a:close/>
                <a:moveTo>
                  <a:pt x="434" y="870"/>
                </a:moveTo>
                <a:cubicBezTo>
                  <a:pt x="457" y="860"/>
                  <a:pt x="482" y="871"/>
                  <a:pt x="491" y="892"/>
                </a:cubicBezTo>
                <a:cubicBezTo>
                  <a:pt x="501" y="915"/>
                  <a:pt x="490" y="941"/>
                  <a:pt x="468" y="950"/>
                </a:cubicBezTo>
                <a:cubicBezTo>
                  <a:pt x="446" y="959"/>
                  <a:pt x="420" y="949"/>
                  <a:pt x="411" y="926"/>
                </a:cubicBezTo>
                <a:cubicBezTo>
                  <a:pt x="402" y="904"/>
                  <a:pt x="412" y="879"/>
                  <a:pt x="434" y="870"/>
                </a:cubicBezTo>
                <a:close/>
                <a:moveTo>
                  <a:pt x="775" y="1020"/>
                </a:moveTo>
                <a:cubicBezTo>
                  <a:pt x="780" y="1031"/>
                  <a:pt x="775" y="1045"/>
                  <a:pt x="763" y="1050"/>
                </a:cubicBezTo>
                <a:cubicBezTo>
                  <a:pt x="752" y="1054"/>
                  <a:pt x="738" y="1049"/>
                  <a:pt x="734" y="1038"/>
                </a:cubicBezTo>
                <a:cubicBezTo>
                  <a:pt x="729" y="1025"/>
                  <a:pt x="734" y="1012"/>
                  <a:pt x="745" y="1007"/>
                </a:cubicBezTo>
                <a:cubicBezTo>
                  <a:pt x="757" y="1002"/>
                  <a:pt x="770" y="1008"/>
                  <a:pt x="775" y="1020"/>
                </a:cubicBezTo>
                <a:close/>
                <a:moveTo>
                  <a:pt x="768" y="724"/>
                </a:moveTo>
                <a:cubicBezTo>
                  <a:pt x="718" y="745"/>
                  <a:pt x="660" y="721"/>
                  <a:pt x="639" y="671"/>
                </a:cubicBezTo>
                <a:cubicBezTo>
                  <a:pt x="618" y="621"/>
                  <a:pt x="641" y="563"/>
                  <a:pt x="691" y="542"/>
                </a:cubicBezTo>
                <a:cubicBezTo>
                  <a:pt x="742" y="521"/>
                  <a:pt x="799" y="545"/>
                  <a:pt x="820" y="595"/>
                </a:cubicBezTo>
                <a:cubicBezTo>
                  <a:pt x="841" y="645"/>
                  <a:pt x="818" y="703"/>
                  <a:pt x="768" y="724"/>
                </a:cubicBezTo>
                <a:close/>
                <a:moveTo>
                  <a:pt x="1167" y="633"/>
                </a:moveTo>
                <a:cubicBezTo>
                  <a:pt x="1190" y="624"/>
                  <a:pt x="1215" y="634"/>
                  <a:pt x="1224" y="656"/>
                </a:cubicBezTo>
                <a:cubicBezTo>
                  <a:pt x="1234" y="678"/>
                  <a:pt x="1223" y="704"/>
                  <a:pt x="1201" y="714"/>
                </a:cubicBezTo>
                <a:cubicBezTo>
                  <a:pt x="1179" y="723"/>
                  <a:pt x="1153" y="712"/>
                  <a:pt x="1144" y="690"/>
                </a:cubicBezTo>
                <a:cubicBezTo>
                  <a:pt x="1135" y="668"/>
                  <a:pt x="1145" y="642"/>
                  <a:pt x="1167" y="633"/>
                </a:cubicBezTo>
                <a:close/>
                <a:moveTo>
                  <a:pt x="995" y="483"/>
                </a:moveTo>
                <a:cubicBezTo>
                  <a:pt x="983" y="488"/>
                  <a:pt x="970" y="482"/>
                  <a:pt x="965" y="471"/>
                </a:cubicBezTo>
                <a:cubicBezTo>
                  <a:pt x="960" y="459"/>
                  <a:pt x="966" y="445"/>
                  <a:pt x="977" y="440"/>
                </a:cubicBezTo>
                <a:cubicBezTo>
                  <a:pt x="988" y="436"/>
                  <a:pt x="1002" y="441"/>
                  <a:pt x="1007" y="453"/>
                </a:cubicBezTo>
                <a:cubicBezTo>
                  <a:pt x="1012" y="465"/>
                  <a:pt x="1006" y="478"/>
                  <a:pt x="995" y="483"/>
                </a:cubicBezTo>
                <a:close/>
                <a:moveTo>
                  <a:pt x="1085" y="230"/>
                </a:moveTo>
                <a:cubicBezTo>
                  <a:pt x="1044" y="248"/>
                  <a:pt x="996" y="229"/>
                  <a:pt x="978" y="187"/>
                </a:cubicBezTo>
                <a:cubicBezTo>
                  <a:pt x="961" y="145"/>
                  <a:pt x="981" y="98"/>
                  <a:pt x="1022" y="81"/>
                </a:cubicBezTo>
                <a:cubicBezTo>
                  <a:pt x="1063" y="63"/>
                  <a:pt x="1110" y="83"/>
                  <a:pt x="1128" y="124"/>
                </a:cubicBezTo>
                <a:cubicBezTo>
                  <a:pt x="1145" y="166"/>
                  <a:pt x="1126" y="213"/>
                  <a:pt x="1085" y="230"/>
                </a:cubicBezTo>
                <a:close/>
                <a:moveTo>
                  <a:pt x="1449" y="271"/>
                </a:moveTo>
                <a:cubicBezTo>
                  <a:pt x="1427" y="280"/>
                  <a:pt x="1402" y="270"/>
                  <a:pt x="1392" y="247"/>
                </a:cubicBezTo>
                <a:cubicBezTo>
                  <a:pt x="1383" y="225"/>
                  <a:pt x="1393" y="200"/>
                  <a:pt x="1415" y="191"/>
                </a:cubicBezTo>
                <a:cubicBezTo>
                  <a:pt x="1438" y="181"/>
                  <a:pt x="1463" y="192"/>
                  <a:pt x="1472" y="213"/>
                </a:cubicBezTo>
                <a:cubicBezTo>
                  <a:pt x="1482" y="236"/>
                  <a:pt x="1471" y="262"/>
                  <a:pt x="1449" y="271"/>
                </a:cubicBezTo>
                <a:close/>
              </a:path>
            </a:pathLst>
          </a:custGeom>
          <a:solidFill>
            <a:schemeClr val="accent1">
              <a:alpha val="10000"/>
            </a:schemeClr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0365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7" rtl="0" eaLnBrk="1" latinLnBrk="0" hangingPunct="1">
        <a:spcBef>
          <a:spcPct val="0"/>
        </a:spcBef>
        <a:buNone/>
        <a:defRPr lang="en-US" sz="3600" b="0" kern="1200" dirty="0">
          <a:solidFill>
            <a:schemeClr val="accent1">
              <a:lumMod val="50000"/>
            </a:schemeClr>
          </a:solidFill>
          <a:latin typeface="Aptos" panose="020B0004020202020204" pitchFamily="34" charset="0"/>
          <a:ea typeface="+mj-ea"/>
          <a:cs typeface="+mj-cs"/>
        </a:defRPr>
      </a:lvl1pPr>
    </p:titleStyle>
    <p:bodyStyle>
      <a:lvl1pPr marL="272967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300" kern="1200">
          <a:solidFill>
            <a:schemeClr val="tx1"/>
          </a:solidFill>
          <a:latin typeface="Aptos Light" panose="020B0004020202020204" pitchFamily="34" charset="0"/>
          <a:ea typeface="+mn-ea"/>
          <a:cs typeface="+mn-cs"/>
        </a:defRPr>
      </a:lvl1pPr>
      <a:lvl2pPr marL="807798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Aptos Light" panose="020B0004020202020204" pitchFamily="34" charset="0"/>
          <a:ea typeface="+mn-ea"/>
          <a:cs typeface="+mn-cs"/>
        </a:defRPr>
      </a:lvl2pPr>
      <a:lvl3pPr marL="1080764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900" kern="1200">
          <a:solidFill>
            <a:schemeClr val="tx1"/>
          </a:solidFill>
          <a:latin typeface="Aptos Light" panose="020B0004020202020204" pitchFamily="34" charset="0"/>
          <a:ea typeface="+mn-ea"/>
          <a:cs typeface="+mn-cs"/>
        </a:defRPr>
      </a:lvl3pPr>
      <a:lvl4pPr marL="1436256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ptos Light" panose="020B0004020202020204" pitchFamily="34" charset="0"/>
          <a:ea typeface="+mn-ea"/>
          <a:cs typeface="+mn-cs"/>
        </a:defRPr>
      </a:lvl4pPr>
      <a:lvl5pPr marL="1793335" indent="-179335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ptos Light" panose="020B0004020202020204" pitchFamily="34" charset="0"/>
          <a:ea typeface="+mn-ea"/>
          <a:cs typeface="+mn-cs"/>
        </a:defRPr>
      </a:lvl5pPr>
      <a:lvl6pPr marL="2513847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0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2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7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8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5DB7C2E-86C9-41B8-9035-77B6B1E05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50" y="1"/>
            <a:ext cx="11370890" cy="13438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F9D0695-0ED9-458F-A74E-31CE256901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0250" y="1825625"/>
            <a:ext cx="1137089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02686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</p:sldLayoutIdLst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5">
            <a:lumMod val="75000"/>
          </a:schemeClr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5">
            <a:lumMod val="75000"/>
          </a:schemeClr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5">
            <a:lumMod val="7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5">
            <a:lumMod val="7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5">
            <a:lumMod val="75000"/>
          </a:schemeClr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9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load.com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mailto:thomas.stensitzki@granikos.eu" TargetMode="External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hyperlink" Target="https://linktr.ee/stensitzki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6.emf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z="5400" dirty="0"/>
              <a:t>B2B Guest Account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en-US" dirty="0"/>
              <a:t>Community Days at Sea</a:t>
            </a:r>
          </a:p>
        </p:txBody>
      </p:sp>
    </p:spTree>
    <p:extLst>
      <p:ext uri="{BB962C8B-B14F-4D97-AF65-F5344CB8AC3E}">
        <p14:creationId xmlns:p14="http://schemas.microsoft.com/office/powerpoint/2010/main" val="2840609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0E0B86D-1556-BBC3-E914-05AAA9147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2B Account – Step 1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477B3F6-03FD-44B8-1FF4-36FA02A51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imary email address and user principal name are </a:t>
            </a:r>
            <a:r>
              <a:rPr lang="en-US" b="1" dirty="0"/>
              <a:t>not</a:t>
            </a:r>
            <a:r>
              <a:rPr lang="en-US" dirty="0"/>
              <a:t> identical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9FDC71C9-2291-FE8A-7EF3-3D137F67DEED}"/>
              </a:ext>
            </a:extLst>
          </p:cNvPr>
          <p:cNvSpPr/>
          <p:nvPr/>
        </p:nvSpPr>
        <p:spPr>
          <a:xfrm>
            <a:off x="541176" y="1974583"/>
            <a:ext cx="4138703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aruna Group – Source Tenant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613F0A79-3DF8-474D-4E36-9B3EAC5582C0}"/>
              </a:ext>
            </a:extLst>
          </p:cNvPr>
          <p:cNvSpPr/>
          <p:nvPr/>
        </p:nvSpPr>
        <p:spPr>
          <a:xfrm>
            <a:off x="7483680" y="1974583"/>
            <a:ext cx="4318996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xion – Inviting Tenant</a:t>
            </a: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84DE2B31-997A-C3A2-9672-B8BEA19D5F7B}"/>
              </a:ext>
            </a:extLst>
          </p:cNvPr>
          <p:cNvSpPr/>
          <p:nvPr/>
        </p:nvSpPr>
        <p:spPr>
          <a:xfrm>
            <a:off x="839755" y="2216794"/>
            <a:ext cx="3561407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ompany Accou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 Principal Nam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@emea.logondomain.ne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m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0" dirty="0">
              <a:solidFill>
                <a:prstClr val="black"/>
              </a:solidFill>
              <a:latin typeface="Aptos" panose="020B0004020202020204" pitchFamily="34" charset="0"/>
            </a:endParaRPr>
          </a:p>
        </p:txBody>
      </p:sp>
      <p:sp>
        <p:nvSpPr>
          <p:cNvPr id="9" name="Rectangle: Rounded Corners 4">
            <a:extLst>
              <a:ext uri="{FF2B5EF4-FFF2-40B4-BE49-F238E27FC236}">
                <a16:creationId xmlns:a16="http://schemas.microsoft.com/office/drawing/2014/main" id="{81663ACA-246B-BF62-E4E5-6F33A4CB7FCE}"/>
              </a:ext>
            </a:extLst>
          </p:cNvPr>
          <p:cNvSpPr/>
          <p:nvPr/>
        </p:nvSpPr>
        <p:spPr>
          <a:xfrm>
            <a:off x="7788082" y="2216794"/>
            <a:ext cx="3772963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Guest Account (Entra ID)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GuestUser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Object (EXO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Address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MTP:John.Doe@varunagroup.d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ignInNam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Principal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_varunagroup.de#EXT#ixion.d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Nick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_varunagroup.de#EX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#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id="{2AF009F9-617A-9B78-937D-0CB38CC84B06}"/>
              </a:ext>
            </a:extLst>
          </p:cNvPr>
          <p:cNvSpPr/>
          <p:nvPr/>
        </p:nvSpPr>
        <p:spPr>
          <a:xfrm>
            <a:off x="4718358" y="2728645"/>
            <a:ext cx="2736747" cy="3177072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Invite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nvite to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ntra ID creates a new B2B guest account using the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 addres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as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Name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 err="1">
                <a:solidFill>
                  <a:prstClr val="black"/>
                </a:solidFill>
                <a:latin typeface="Aptos" panose="020B0004020202020204" pitchFamily="34" charset="0"/>
              </a:rPr>
              <a:t>SignInName</a:t>
            </a:r>
            <a:endParaRPr lang="en-US" sz="1200" kern="0" dirty="0">
              <a:solidFill>
                <a:prstClr val="black"/>
              </a:solidFill>
              <a:latin typeface="Aptos" panose="020B0004020202020204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 Principal Name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Exchange Online Directory Services creates a mail user object 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F28A8F29-C1B4-4BB0-F1E2-A87213F4FCBE}"/>
              </a:ext>
            </a:extLst>
          </p:cNvPr>
          <p:cNvSpPr/>
          <p:nvPr/>
        </p:nvSpPr>
        <p:spPr>
          <a:xfrm flipH="1">
            <a:off x="3480461" y="1650558"/>
            <a:ext cx="4740608" cy="890262"/>
          </a:xfrm>
          <a:prstGeom prst="rightArrow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 Doe receives an invite by email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5F48581-F3BB-3E3D-CF56-6BE465C941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7888" y="2752417"/>
            <a:ext cx="692645" cy="748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482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CA3DD2-DD84-173C-273F-15C3E5BAA8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2B Account – Step 2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5827B0-1BED-95C5-6F40-B660CDB51C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imary email address and user principal name are </a:t>
            </a:r>
            <a:r>
              <a:rPr lang="en-US" b="1" dirty="0"/>
              <a:t>not</a:t>
            </a:r>
            <a:r>
              <a:rPr lang="en-US" dirty="0"/>
              <a:t> identical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1BB6B52D-B559-B88F-C682-8A758940B9B2}"/>
              </a:ext>
            </a:extLst>
          </p:cNvPr>
          <p:cNvSpPr/>
          <p:nvPr/>
        </p:nvSpPr>
        <p:spPr>
          <a:xfrm>
            <a:off x="541176" y="1974583"/>
            <a:ext cx="4138703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aruna Group – Source Tenant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F25EF0F-132A-9884-74A8-6702CEAD1345}"/>
              </a:ext>
            </a:extLst>
          </p:cNvPr>
          <p:cNvSpPr/>
          <p:nvPr/>
        </p:nvSpPr>
        <p:spPr>
          <a:xfrm>
            <a:off x="7483680" y="1974583"/>
            <a:ext cx="4318996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xion – Inviting Tenant</a:t>
            </a:r>
          </a:p>
        </p:txBody>
      </p:sp>
      <p:sp>
        <p:nvSpPr>
          <p:cNvPr id="6" name="Rectangle: Rounded Corners 4">
            <a:extLst>
              <a:ext uri="{FF2B5EF4-FFF2-40B4-BE49-F238E27FC236}">
                <a16:creationId xmlns:a16="http://schemas.microsoft.com/office/drawing/2014/main" id="{605B4861-C0C4-7576-0132-B30936735262}"/>
              </a:ext>
            </a:extLst>
          </p:cNvPr>
          <p:cNvSpPr/>
          <p:nvPr/>
        </p:nvSpPr>
        <p:spPr>
          <a:xfrm>
            <a:off x="839755" y="2216794"/>
            <a:ext cx="3561407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ompany Accou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defTabSz="914400">
              <a:spcBef>
                <a:spcPts val="400"/>
              </a:spcBef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 Principal Nam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@emea.logondomain.ne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m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0" dirty="0">
              <a:solidFill>
                <a:prstClr val="black"/>
              </a:solidFill>
              <a:latin typeface="Aptos" panose="020B00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7" name="Rectangle: Rounded Corners 4">
            <a:extLst>
              <a:ext uri="{FF2B5EF4-FFF2-40B4-BE49-F238E27FC236}">
                <a16:creationId xmlns:a16="http://schemas.microsoft.com/office/drawing/2014/main" id="{72544E22-3A19-4871-8A38-FC15B58F56D7}"/>
              </a:ext>
            </a:extLst>
          </p:cNvPr>
          <p:cNvSpPr/>
          <p:nvPr/>
        </p:nvSpPr>
        <p:spPr>
          <a:xfrm>
            <a:off x="7788082" y="2216794"/>
            <a:ext cx="3772963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Guest Account (Entra ID)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GuestUser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Object (EXO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Address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MTP:John.Doe@varunagroup.d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ignInNam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@emea.logondomain.net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Principal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_emea.logondomain.n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#EXT#ixion.d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Nick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_emea.logondomain.net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#EXT#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1CA76969-D0A9-6132-1511-F8A15CC570AC}"/>
              </a:ext>
            </a:extLst>
          </p:cNvPr>
          <p:cNvSpPr/>
          <p:nvPr/>
        </p:nvSpPr>
        <p:spPr>
          <a:xfrm>
            <a:off x="4718358" y="2728645"/>
            <a:ext cx="2736747" cy="3177072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Invite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defTabSz="914400">
              <a:spcBef>
                <a:spcPts val="400"/>
              </a:spcBef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 accepts the invite and logs on to the </a:t>
            </a: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inviting tenant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ntra ID queries for permission to read profile information </a:t>
            </a: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and </a:t>
            </a:r>
            <a:r>
              <a:rPr lang="en-US" sz="1200" kern="0" dirty="0">
                <a:solidFill>
                  <a:prstClr val="black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updates</a:t>
            </a: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 the B2B guest accou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5C91994B-2B5A-AEDA-7E58-9A9D73693E80}"/>
              </a:ext>
            </a:extLst>
          </p:cNvPr>
          <p:cNvSpPr/>
          <p:nvPr/>
        </p:nvSpPr>
        <p:spPr>
          <a:xfrm>
            <a:off x="3480461" y="1650558"/>
            <a:ext cx="4740608" cy="890262"/>
          </a:xfrm>
          <a:prstGeom prst="rightArrow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 Doe accepts invit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88549D4-5183-3D70-CC99-BFF5770D5C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7888" y="2752417"/>
            <a:ext cx="692645" cy="748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45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CA3DD2-DD84-173C-273F-15C3E5BAA8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ail Flow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5827B0-1BED-95C5-6F40-B660CDB51C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imary email address as of original invite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1BB6B52D-B559-B88F-C682-8A758940B9B2}"/>
              </a:ext>
            </a:extLst>
          </p:cNvPr>
          <p:cNvSpPr/>
          <p:nvPr/>
        </p:nvSpPr>
        <p:spPr>
          <a:xfrm>
            <a:off x="541176" y="1974584"/>
            <a:ext cx="4138703" cy="3940940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aruna Group – Source Tenant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F25EF0F-132A-9884-74A8-6702CEAD1345}"/>
              </a:ext>
            </a:extLst>
          </p:cNvPr>
          <p:cNvSpPr/>
          <p:nvPr/>
        </p:nvSpPr>
        <p:spPr>
          <a:xfrm>
            <a:off x="7483680" y="1974584"/>
            <a:ext cx="4318996" cy="3940940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xion – Inviting Tenant</a:t>
            </a:r>
          </a:p>
        </p:txBody>
      </p:sp>
      <p:sp>
        <p:nvSpPr>
          <p:cNvPr id="6" name="Rectangle: Rounded Corners 4">
            <a:extLst>
              <a:ext uri="{FF2B5EF4-FFF2-40B4-BE49-F238E27FC236}">
                <a16:creationId xmlns:a16="http://schemas.microsoft.com/office/drawing/2014/main" id="{605B4861-C0C4-7576-0132-B30936735262}"/>
              </a:ext>
            </a:extLst>
          </p:cNvPr>
          <p:cNvSpPr/>
          <p:nvPr/>
        </p:nvSpPr>
        <p:spPr>
          <a:xfrm>
            <a:off x="839755" y="2216794"/>
            <a:ext cx="3561407" cy="3084879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ompany Accou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defTabSz="914400">
              <a:spcBef>
                <a:spcPts val="400"/>
              </a:spcBef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 Principal Nam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@emea.logondomain.ne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m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0" dirty="0">
              <a:solidFill>
                <a:prstClr val="black"/>
              </a:solidFill>
              <a:latin typeface="Aptos" panose="020B00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7" name="Rectangle: Rounded Corners 4">
            <a:extLst>
              <a:ext uri="{FF2B5EF4-FFF2-40B4-BE49-F238E27FC236}">
                <a16:creationId xmlns:a16="http://schemas.microsoft.com/office/drawing/2014/main" id="{72544E22-3A19-4871-8A38-FC15B58F56D7}"/>
              </a:ext>
            </a:extLst>
          </p:cNvPr>
          <p:cNvSpPr/>
          <p:nvPr/>
        </p:nvSpPr>
        <p:spPr>
          <a:xfrm>
            <a:off x="7788082" y="2216794"/>
            <a:ext cx="3772963" cy="3084879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Guest Account (Entra ID)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GuestUser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Object (EXO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Address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MTP:John.Doe@varunagroup.d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Nick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_emea.logondomain.net #EXT#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1CA76969-D0A9-6132-1511-F8A15CC570AC}"/>
              </a:ext>
            </a:extLst>
          </p:cNvPr>
          <p:cNvSpPr/>
          <p:nvPr/>
        </p:nvSpPr>
        <p:spPr>
          <a:xfrm>
            <a:off x="4718358" y="2728645"/>
            <a:ext cx="2736747" cy="3177072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xion </a:t>
            </a:r>
            <a:r>
              <a:rPr lang="en-US" sz="1400" b="1" kern="0" dirty="0">
                <a:solidFill>
                  <a:prstClr val="black"/>
                </a:solidFill>
                <a:latin typeface="Aptos" panose="020B0004020202020204" pitchFamily="34" charset="0"/>
              </a:rPr>
              <a:t>user sends email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defTabSz="914400">
              <a:spcBef>
                <a:spcPts val="400"/>
              </a:spcBef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xchange Online resolves the recipient address to the existing mail user object of varunagroup.de and delivers the email to Varuna Group's mail server.</a:t>
            </a:r>
            <a:endParaRPr lang="en-US" sz="1200" kern="0" dirty="0">
              <a:solidFill>
                <a:prstClr val="black"/>
              </a:solidFill>
              <a:latin typeface="Aptos" panose="020B00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5C91994B-2B5A-AEDA-7E58-9A9D73693E80}"/>
              </a:ext>
            </a:extLst>
          </p:cNvPr>
          <p:cNvSpPr/>
          <p:nvPr/>
        </p:nvSpPr>
        <p:spPr>
          <a:xfrm flipH="1">
            <a:off x="3480461" y="1650558"/>
            <a:ext cx="4740608" cy="890262"/>
          </a:xfrm>
          <a:prstGeom prst="rightArrow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 to John Do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88549D4-5183-3D70-CC99-BFF5770D5C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7888" y="2752417"/>
            <a:ext cx="692645" cy="748503"/>
          </a:xfrm>
          <a:prstGeom prst="rect">
            <a:avLst/>
          </a:prstGeom>
        </p:spPr>
      </p:pic>
      <p:sp>
        <p:nvSpPr>
          <p:cNvPr id="11" name="Rectangle: Rounded Corners 4">
            <a:extLst>
              <a:ext uri="{FF2B5EF4-FFF2-40B4-BE49-F238E27FC236}">
                <a16:creationId xmlns:a16="http://schemas.microsoft.com/office/drawing/2014/main" id="{B1356A7B-BF03-11D0-0475-2101F7933A4D}"/>
              </a:ext>
            </a:extLst>
          </p:cNvPr>
          <p:cNvSpPr/>
          <p:nvPr/>
        </p:nvSpPr>
        <p:spPr>
          <a:xfrm>
            <a:off x="9729627" y="5965663"/>
            <a:ext cx="2362784" cy="723323"/>
          </a:xfrm>
          <a:prstGeom prst="round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Email to</a:t>
            </a: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</a:b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John.Doe@varunagroup.de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sp>
        <p:nvSpPr>
          <p:cNvPr id="12" name="Rectangle: Rounded Corners 4">
            <a:extLst>
              <a:ext uri="{FF2B5EF4-FFF2-40B4-BE49-F238E27FC236}">
                <a16:creationId xmlns:a16="http://schemas.microsoft.com/office/drawing/2014/main" id="{02396286-3697-9805-0E50-340937E96C42}"/>
              </a:ext>
            </a:extLst>
          </p:cNvPr>
          <p:cNvSpPr/>
          <p:nvPr/>
        </p:nvSpPr>
        <p:spPr>
          <a:xfrm>
            <a:off x="6799780" y="5965662"/>
            <a:ext cx="2362784" cy="723323"/>
          </a:xfrm>
          <a:prstGeom prst="round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EXO resolves to </a:t>
            </a: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</a:b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John.Doe@varunagroup.de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sp>
        <p:nvSpPr>
          <p:cNvPr id="13" name="Rectangle: Rounded Corners 4">
            <a:extLst>
              <a:ext uri="{FF2B5EF4-FFF2-40B4-BE49-F238E27FC236}">
                <a16:creationId xmlns:a16="http://schemas.microsoft.com/office/drawing/2014/main" id="{19D7BD80-5957-353F-7CBF-91FD671A1595}"/>
              </a:ext>
            </a:extLst>
          </p:cNvPr>
          <p:cNvSpPr/>
          <p:nvPr/>
        </p:nvSpPr>
        <p:spPr>
          <a:xfrm>
            <a:off x="1439066" y="5965663"/>
            <a:ext cx="2362784" cy="723323"/>
          </a:xfrm>
          <a:prstGeom prst="round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Receiving address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John.Doe@varunagroup.de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7F93AE8-0BB5-E19D-4617-589C3F5FF08E}"/>
              </a:ext>
            </a:extLst>
          </p:cNvPr>
          <p:cNvCxnSpPr>
            <a:cxnSpLocks/>
            <a:stCxn id="11" idx="1"/>
            <a:endCxn id="12" idx="3"/>
          </p:cNvCxnSpPr>
          <p:nvPr/>
        </p:nvCxnSpPr>
        <p:spPr>
          <a:xfrm flipH="1" flipV="1">
            <a:off x="9162564" y="6327324"/>
            <a:ext cx="567063" cy="1"/>
          </a:xfrm>
          <a:prstGeom prst="straightConnector1">
            <a:avLst/>
          </a:prstGeom>
          <a:noFill/>
          <a:ln w="57150" cap="flat" cmpd="sng" algn="ctr">
            <a:solidFill>
              <a:srgbClr val="00ADE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8A0CB6D7-A1D0-A733-75FD-772BB5D91A9A}"/>
              </a:ext>
            </a:extLst>
          </p:cNvPr>
          <p:cNvCxnSpPr>
            <a:cxnSpLocks/>
            <a:stCxn id="12" idx="1"/>
            <a:endCxn id="13" idx="3"/>
          </p:cNvCxnSpPr>
          <p:nvPr/>
        </p:nvCxnSpPr>
        <p:spPr>
          <a:xfrm flipH="1">
            <a:off x="3801850" y="6327324"/>
            <a:ext cx="2997930" cy="1"/>
          </a:xfrm>
          <a:prstGeom prst="straightConnector1">
            <a:avLst/>
          </a:prstGeom>
          <a:noFill/>
          <a:ln w="57150" cap="flat" cmpd="sng" algn="ctr">
            <a:solidFill>
              <a:srgbClr val="00ADEF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01739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E7AA7E8-8006-4E1F-A566-FCF37EE6F3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447"/>
            <a:ext cx="12190413" cy="6857107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/>
            <a:endParaRPr lang="en-US" sz="1800" dirty="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4C22336-6B32-309D-61F7-2C9A7348F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878" y="1598485"/>
            <a:ext cx="4626107" cy="5122318"/>
          </a:xfrm>
        </p:spPr>
        <p:txBody>
          <a:bodyPr vert="horz" lIns="91428" tIns="45714" rIns="91428" bIns="45714" rtlCol="0" anchor="t">
            <a:noAutofit/>
          </a:bodyPr>
          <a:lstStyle/>
          <a:p>
            <a:pPr algn="r"/>
            <a:r>
              <a:rPr lang="en-US" sz="4000" dirty="0">
                <a:solidFill>
                  <a:srgbClr val="FFFFFF"/>
                </a:solidFill>
              </a:rPr>
              <a:t>Where The Fun Begin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83776E-6A21-8716-D3A4-0609D40A35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92240" y="1591080"/>
            <a:ext cx="5671437" cy="5094558"/>
          </a:xfrm>
        </p:spPr>
        <p:txBody>
          <a:bodyPr vert="horz" lIns="91428" tIns="45714" rIns="91428" bIns="45714" rtlCol="0">
            <a:normAutofit/>
          </a:bodyPr>
          <a:lstStyle/>
          <a:p>
            <a:r>
              <a:rPr lang="en-US" sz="4400" dirty="0">
                <a:solidFill>
                  <a:srgbClr val="FFFFFF"/>
                </a:solidFill>
                <a:latin typeface="Aptos" panose="020B0004020202020204" pitchFamily="34" charset="0"/>
                <a:ea typeface="+mn-ea"/>
              </a:rPr>
              <a:t>Merger and Acquisition</a:t>
            </a:r>
          </a:p>
          <a:p>
            <a:r>
              <a:rPr lang="en-US" sz="4400" dirty="0">
                <a:solidFill>
                  <a:srgbClr val="FFFFFF"/>
                </a:solidFill>
                <a:latin typeface="Aptos" panose="020B0004020202020204" pitchFamily="34" charset="0"/>
                <a:ea typeface="+mn-ea"/>
              </a:rPr>
              <a:t>or</a:t>
            </a:r>
          </a:p>
          <a:p>
            <a:r>
              <a:rPr lang="en-US" sz="4400" dirty="0">
                <a:solidFill>
                  <a:srgbClr val="FFFFFF"/>
                </a:solidFill>
                <a:latin typeface="Aptos" panose="020B0004020202020204" pitchFamily="34" charset="0"/>
                <a:ea typeface="+mn-ea"/>
              </a:rPr>
              <a:t>Carve Ou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6020367-4FD5-4596-8E10-C5F095CD8D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446612" y="1589608"/>
            <a:ext cx="0" cy="5259069"/>
          </a:xfrm>
          <a:prstGeom prst="line">
            <a:avLst/>
          </a:prstGeom>
          <a:ln w="25400" cap="sq">
            <a:solidFill>
              <a:srgbClr val="FFFFFF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6057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0E0B86D-1556-BBC3-E914-05AAA9147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2B Account – Domain Change – Step 1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477B3F6-03FD-44B8-1FF4-36FA02A51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New</a:t>
            </a:r>
            <a:r>
              <a:rPr lang="en-US" dirty="0"/>
              <a:t> primary email address and user principal name are </a:t>
            </a:r>
            <a:r>
              <a:rPr lang="en-US" b="1" dirty="0"/>
              <a:t>not</a:t>
            </a:r>
            <a:r>
              <a:rPr lang="en-US" dirty="0"/>
              <a:t> identical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9FDC71C9-2291-FE8A-7EF3-3D137F67DEED}"/>
              </a:ext>
            </a:extLst>
          </p:cNvPr>
          <p:cNvSpPr/>
          <p:nvPr/>
        </p:nvSpPr>
        <p:spPr>
          <a:xfrm>
            <a:off x="541176" y="1974583"/>
            <a:ext cx="4138703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aruna Group – Source Tenant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613F0A79-3DF8-474D-4E36-9B3EAC5582C0}"/>
              </a:ext>
            </a:extLst>
          </p:cNvPr>
          <p:cNvSpPr/>
          <p:nvPr/>
        </p:nvSpPr>
        <p:spPr>
          <a:xfrm>
            <a:off x="7483680" y="1974583"/>
            <a:ext cx="4318996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xion – Inviting Tenant</a:t>
            </a: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84DE2B31-997A-C3A2-9672-B8BEA19D5F7B}"/>
              </a:ext>
            </a:extLst>
          </p:cNvPr>
          <p:cNvSpPr/>
          <p:nvPr/>
        </p:nvSpPr>
        <p:spPr>
          <a:xfrm>
            <a:off x="839755" y="2216794"/>
            <a:ext cx="3561407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ompany Accou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defTabSz="914400">
              <a:spcBef>
                <a:spcPts val="400"/>
              </a:spcBef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 Principal Nam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@emea.logondomain.ne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m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Doe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@</a:t>
            </a:r>
            <a:r>
              <a:rPr lang="en-US" sz="1200" kern="0" dirty="0" err="1">
                <a:solidFill>
                  <a:prstClr val="black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setebos</a:t>
            </a:r>
            <a:r>
              <a:rPr lang="en-US" sz="1200" kern="0" dirty="0">
                <a:solidFill>
                  <a:prstClr val="black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-a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.com</a:t>
            </a:r>
          </a:p>
          <a:p>
            <a:pPr defTabSz="914400">
              <a:spcBef>
                <a:spcPts val="400"/>
              </a:spcBef>
              <a:defRPr/>
            </a:pPr>
            <a:b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econd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0" dirty="0">
              <a:solidFill>
                <a:prstClr val="black"/>
              </a:solidFill>
              <a:latin typeface="Aptos" panose="020B0004020202020204" pitchFamily="34" charset="0"/>
            </a:endParaRPr>
          </a:p>
        </p:txBody>
      </p:sp>
      <p:sp>
        <p:nvSpPr>
          <p:cNvPr id="9" name="Rectangle: Rounded Corners 4">
            <a:extLst>
              <a:ext uri="{FF2B5EF4-FFF2-40B4-BE49-F238E27FC236}">
                <a16:creationId xmlns:a16="http://schemas.microsoft.com/office/drawing/2014/main" id="{81663ACA-246B-BF62-E4E5-6F33A4CB7FCE}"/>
              </a:ext>
            </a:extLst>
          </p:cNvPr>
          <p:cNvSpPr/>
          <p:nvPr/>
        </p:nvSpPr>
        <p:spPr>
          <a:xfrm>
            <a:off x="7788082" y="2216794"/>
            <a:ext cx="3772963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Guest Account (Entra ID)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GuestUser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Object (EXO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Address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MTP:JDoe@setebos-ag.com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ignInNam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Doe@setebos-ag.com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Principal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Doe_Setebos-ag.com#EXT#ixion.d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Nick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Doe_Setebos-ag.com#EX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#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5F48581-F3BB-3E3D-CF56-6BE465C941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7888" y="2752417"/>
            <a:ext cx="692645" cy="748503"/>
          </a:xfrm>
          <a:prstGeom prst="rect">
            <a:avLst/>
          </a:prstGeom>
        </p:spPr>
      </p:pic>
      <p:sp>
        <p:nvSpPr>
          <p:cNvPr id="2" name="Rectangle: Rounded Corners 4">
            <a:extLst>
              <a:ext uri="{FF2B5EF4-FFF2-40B4-BE49-F238E27FC236}">
                <a16:creationId xmlns:a16="http://schemas.microsoft.com/office/drawing/2014/main" id="{0C2E099A-1B53-7CF0-C616-966FF5D895F1}"/>
              </a:ext>
            </a:extLst>
          </p:cNvPr>
          <p:cNvSpPr/>
          <p:nvPr/>
        </p:nvSpPr>
        <p:spPr>
          <a:xfrm>
            <a:off x="4718358" y="2728645"/>
            <a:ext cx="2736747" cy="3177072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mary SMTP Address change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aruna Group changes the company name and updates primary SMTP addresses to the new domain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etebos-ag.com</a:t>
            </a:r>
          </a:p>
        </p:txBody>
      </p:sp>
    </p:spTree>
    <p:extLst>
      <p:ext uri="{BB962C8B-B14F-4D97-AF65-F5344CB8AC3E}">
        <p14:creationId xmlns:p14="http://schemas.microsoft.com/office/powerpoint/2010/main" val="218757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0E0B86D-1556-BBC3-E914-05AAA9147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2B Account – Domain Change – Step 2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477B3F6-03FD-44B8-1FF4-36FA02A51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New</a:t>
            </a:r>
            <a:r>
              <a:rPr lang="en-US" dirty="0"/>
              <a:t> primary email address and user principal name are </a:t>
            </a:r>
            <a:r>
              <a:rPr lang="en-US" b="1" dirty="0"/>
              <a:t>not</a:t>
            </a:r>
            <a:r>
              <a:rPr lang="en-US" dirty="0"/>
              <a:t> identical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A969F447-F1AF-844A-2DBB-BB284D8CD36F}"/>
              </a:ext>
            </a:extLst>
          </p:cNvPr>
          <p:cNvSpPr/>
          <p:nvPr/>
        </p:nvSpPr>
        <p:spPr>
          <a:xfrm>
            <a:off x="541176" y="1974583"/>
            <a:ext cx="4138703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aruna Group – Source Tenant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54FF9FDF-F377-F1E8-91CF-54E5E50DBCE4}"/>
              </a:ext>
            </a:extLst>
          </p:cNvPr>
          <p:cNvSpPr/>
          <p:nvPr/>
        </p:nvSpPr>
        <p:spPr>
          <a:xfrm>
            <a:off x="7483680" y="1974583"/>
            <a:ext cx="4318996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xion – Inviting Tenant</a:t>
            </a:r>
          </a:p>
        </p:txBody>
      </p:sp>
      <p:sp>
        <p:nvSpPr>
          <p:cNvPr id="11" name="Rectangle: Rounded Corners 4">
            <a:extLst>
              <a:ext uri="{FF2B5EF4-FFF2-40B4-BE49-F238E27FC236}">
                <a16:creationId xmlns:a16="http://schemas.microsoft.com/office/drawing/2014/main" id="{7440C4D9-C9B2-BA29-5A1F-0F13B73D7FCD}"/>
              </a:ext>
            </a:extLst>
          </p:cNvPr>
          <p:cNvSpPr/>
          <p:nvPr/>
        </p:nvSpPr>
        <p:spPr>
          <a:xfrm>
            <a:off x="839755" y="2216794"/>
            <a:ext cx="3561407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ompany Accou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 Principal Nam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@emea.logondomain.ne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m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Doe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@</a:t>
            </a:r>
            <a:r>
              <a:rPr lang="en-US" sz="1200" kern="0" dirty="0" err="1">
                <a:solidFill>
                  <a:prstClr val="black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setebos</a:t>
            </a:r>
            <a:r>
              <a:rPr lang="en-US" sz="1200" kern="0" dirty="0">
                <a:solidFill>
                  <a:prstClr val="black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-a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.com</a:t>
            </a:r>
          </a:p>
          <a:p>
            <a:pPr defTabSz="914400">
              <a:spcBef>
                <a:spcPts val="400"/>
              </a:spcBef>
              <a:defRPr/>
            </a:pPr>
            <a:b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econd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0" dirty="0">
              <a:solidFill>
                <a:prstClr val="black"/>
              </a:solidFill>
              <a:latin typeface="Aptos" panose="020B0004020202020204" pitchFamily="34" charset="0"/>
            </a:endParaRPr>
          </a:p>
        </p:txBody>
      </p:sp>
      <p:sp>
        <p:nvSpPr>
          <p:cNvPr id="13" name="Rectangle: Rounded Corners 4">
            <a:extLst>
              <a:ext uri="{FF2B5EF4-FFF2-40B4-BE49-F238E27FC236}">
                <a16:creationId xmlns:a16="http://schemas.microsoft.com/office/drawing/2014/main" id="{65EAFD78-C3D9-25B4-B862-186D55C0B53D}"/>
              </a:ext>
            </a:extLst>
          </p:cNvPr>
          <p:cNvSpPr/>
          <p:nvPr/>
        </p:nvSpPr>
        <p:spPr>
          <a:xfrm>
            <a:off x="7788082" y="2216794"/>
            <a:ext cx="3772963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Guest Account (Entra ID)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GuestUser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Object (EXO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Address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MTP:John.Doe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@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ignInNam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Principal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_varunagroup.de#EXT#ixion.d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Nick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_varunagroup.de#EX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#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14" name="Rectangle: Rounded Corners 4">
            <a:extLst>
              <a:ext uri="{FF2B5EF4-FFF2-40B4-BE49-F238E27FC236}">
                <a16:creationId xmlns:a16="http://schemas.microsoft.com/office/drawing/2014/main" id="{C689F498-F14F-0505-E267-09E71CA4D0EE}"/>
              </a:ext>
            </a:extLst>
          </p:cNvPr>
          <p:cNvSpPr/>
          <p:nvPr/>
        </p:nvSpPr>
        <p:spPr>
          <a:xfrm>
            <a:off x="4718358" y="2728645"/>
            <a:ext cx="2736747" cy="3177072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Invite </a:t>
            </a:r>
            <a:r>
              <a:rPr lang="en-US" sz="1400" b="1" kern="0" dirty="0">
                <a:solidFill>
                  <a:prstClr val="black"/>
                </a:solidFill>
                <a:latin typeface="Aptos" panose="020B0004020202020204" pitchFamily="34" charset="0"/>
              </a:rPr>
              <a:t>to new addres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nvite to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Doe@setebos-ag.co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ntra ID creates a new B2B guest account using the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 addres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as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Name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 err="1">
                <a:solidFill>
                  <a:prstClr val="black"/>
                </a:solidFill>
                <a:latin typeface="Aptos" panose="020B0004020202020204" pitchFamily="34" charset="0"/>
              </a:rPr>
              <a:t>SignInName</a:t>
            </a:r>
            <a:endParaRPr lang="en-US" sz="1200" kern="0" dirty="0">
              <a:solidFill>
                <a:prstClr val="black"/>
              </a:solidFill>
              <a:latin typeface="Aptos" panose="020B0004020202020204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 Principal Name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Exchange Online Directory Services creates a mail user object 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E9B61292-56B0-DCE4-65D8-C4D1DCFF84AB}"/>
              </a:ext>
            </a:extLst>
          </p:cNvPr>
          <p:cNvSpPr/>
          <p:nvPr/>
        </p:nvSpPr>
        <p:spPr>
          <a:xfrm flipH="1">
            <a:off x="3480461" y="1650558"/>
            <a:ext cx="4740608" cy="890262"/>
          </a:xfrm>
          <a:prstGeom prst="rightArrow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 Doe receives an invite by email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E47C894A-3553-9ACD-D165-FBE3DCBACF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7888" y="2752417"/>
            <a:ext cx="692645" cy="748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997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0E0B86D-1556-BBC3-E914-05AAA9147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2B Account – Domain Change – Step 3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477B3F6-03FD-44B8-1FF4-36FA02A51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New</a:t>
            </a:r>
            <a:r>
              <a:rPr lang="en-US" dirty="0"/>
              <a:t> primary email address and user principal name are </a:t>
            </a:r>
            <a:r>
              <a:rPr lang="en-US" b="1" dirty="0"/>
              <a:t>not</a:t>
            </a:r>
            <a:r>
              <a:rPr lang="en-US" dirty="0"/>
              <a:t> identical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6C7516BA-5A79-8F4B-7232-F46D0917B9AA}"/>
              </a:ext>
            </a:extLst>
          </p:cNvPr>
          <p:cNvSpPr/>
          <p:nvPr/>
        </p:nvSpPr>
        <p:spPr>
          <a:xfrm>
            <a:off x="541176" y="1974583"/>
            <a:ext cx="4138703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aruna Group – Source Tenant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59AC1EE7-FF74-B23F-DEF0-59756B62C986}"/>
              </a:ext>
            </a:extLst>
          </p:cNvPr>
          <p:cNvSpPr/>
          <p:nvPr/>
        </p:nvSpPr>
        <p:spPr>
          <a:xfrm>
            <a:off x="7483680" y="1974583"/>
            <a:ext cx="4318996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xion – Inviting Tenant</a:t>
            </a: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1475B0D4-50FB-9186-DEB1-FBEFD3A85F3D}"/>
              </a:ext>
            </a:extLst>
          </p:cNvPr>
          <p:cNvSpPr/>
          <p:nvPr/>
        </p:nvSpPr>
        <p:spPr>
          <a:xfrm>
            <a:off x="839755" y="2216794"/>
            <a:ext cx="3561407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ompany Accou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defTabSz="914400">
              <a:spcBef>
                <a:spcPts val="400"/>
              </a:spcBef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 Principal Nam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@emea.logondomain.ne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m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Doe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@</a:t>
            </a:r>
            <a:r>
              <a:rPr lang="en-US" sz="1200" kern="0" dirty="0" err="1">
                <a:solidFill>
                  <a:prstClr val="black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setebos</a:t>
            </a:r>
            <a:r>
              <a:rPr lang="en-US" sz="1200" kern="0" dirty="0">
                <a:solidFill>
                  <a:prstClr val="black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-a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.com</a:t>
            </a:r>
          </a:p>
          <a:p>
            <a:pPr defTabSz="914400">
              <a:spcBef>
                <a:spcPts val="400"/>
              </a:spcBef>
              <a:defRPr/>
            </a:pPr>
            <a:b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econd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  <a:endParaRPr lang="en-US" sz="1200" kern="0" dirty="0">
              <a:solidFill>
                <a:prstClr val="black"/>
              </a:solidFill>
              <a:latin typeface="Aptos" panose="020B00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9" name="Rectangle: Rounded Corners 4">
            <a:extLst>
              <a:ext uri="{FF2B5EF4-FFF2-40B4-BE49-F238E27FC236}">
                <a16:creationId xmlns:a16="http://schemas.microsoft.com/office/drawing/2014/main" id="{89B6B640-086F-25A4-96EE-356DFB369C2C}"/>
              </a:ext>
            </a:extLst>
          </p:cNvPr>
          <p:cNvSpPr/>
          <p:nvPr/>
        </p:nvSpPr>
        <p:spPr>
          <a:xfrm>
            <a:off x="7788082" y="2216794"/>
            <a:ext cx="3772963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Guest Account (Entra ID)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GuestUser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Object (EXO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Address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MTP:John.Doe@varunagroup.d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ignInNam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@emea.logondomain.net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Principal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_emea.logondomain.ne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#EXT#ixion.d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Nick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_emea.logondomain.net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#EXT#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12" name="Rectangle: Rounded Corners 4">
            <a:extLst>
              <a:ext uri="{FF2B5EF4-FFF2-40B4-BE49-F238E27FC236}">
                <a16:creationId xmlns:a16="http://schemas.microsoft.com/office/drawing/2014/main" id="{0407CE1F-8391-35D4-8AB0-C162CF9EDE91}"/>
              </a:ext>
            </a:extLst>
          </p:cNvPr>
          <p:cNvSpPr/>
          <p:nvPr/>
        </p:nvSpPr>
        <p:spPr>
          <a:xfrm>
            <a:off x="4718358" y="2728645"/>
            <a:ext cx="2736747" cy="3177072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Invite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defTabSz="914400">
              <a:spcBef>
                <a:spcPts val="400"/>
              </a:spcBef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 accepts the invite and logs on to the </a:t>
            </a: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inviting tenant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ntra ID queries for permission to read profile information </a:t>
            </a: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and </a:t>
            </a:r>
            <a:r>
              <a:rPr lang="en-US" sz="1200" kern="0" dirty="0">
                <a:solidFill>
                  <a:prstClr val="black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updates</a:t>
            </a: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 the B2B guest accou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D67D460B-548C-6814-2171-D61C7383DF02}"/>
              </a:ext>
            </a:extLst>
          </p:cNvPr>
          <p:cNvSpPr/>
          <p:nvPr/>
        </p:nvSpPr>
        <p:spPr>
          <a:xfrm>
            <a:off x="3480461" y="1650558"/>
            <a:ext cx="4740608" cy="890262"/>
          </a:xfrm>
          <a:prstGeom prst="rightArrow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 Doe </a:t>
            </a:r>
            <a:r>
              <a:rPr lang="en-US" sz="1800" kern="0" dirty="0">
                <a:solidFill>
                  <a:prstClr val="white"/>
                </a:solidFill>
                <a:latin typeface="Aptos" panose="020B0004020202020204" pitchFamily="34" charset="0"/>
              </a:rPr>
              <a:t>logs on to the new Team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796D280F-911C-4136-93D4-5263E248AB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7888" y="2752417"/>
            <a:ext cx="692645" cy="748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271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C02AB606-CC06-5BFE-B9E8-46ADC6AB8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2B Account – Domain Change – Step 4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A6227CD-6B0C-EC9E-DCAC-52FCBBC1CB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9B76694C-1F81-D77D-FB71-DF1162355478}"/>
              </a:ext>
            </a:extLst>
          </p:cNvPr>
          <p:cNvSpPr/>
          <p:nvPr/>
        </p:nvSpPr>
        <p:spPr>
          <a:xfrm>
            <a:off x="541176" y="1974583"/>
            <a:ext cx="4138703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aruna Group – Source Tenant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ACFC5A7E-51AB-E469-4AF9-A568B5BC7C7C}"/>
              </a:ext>
            </a:extLst>
          </p:cNvPr>
          <p:cNvSpPr/>
          <p:nvPr/>
        </p:nvSpPr>
        <p:spPr>
          <a:xfrm>
            <a:off x="7483680" y="1974583"/>
            <a:ext cx="4318996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xion – Inviting Tenant</a:t>
            </a:r>
          </a:p>
        </p:txBody>
      </p:sp>
      <p:sp>
        <p:nvSpPr>
          <p:cNvPr id="4" name="Rectangle: Rounded Corners 4">
            <a:extLst>
              <a:ext uri="{FF2B5EF4-FFF2-40B4-BE49-F238E27FC236}">
                <a16:creationId xmlns:a16="http://schemas.microsoft.com/office/drawing/2014/main" id="{41053596-71E9-F9F2-10C2-2613CA0B9E06}"/>
              </a:ext>
            </a:extLst>
          </p:cNvPr>
          <p:cNvSpPr/>
          <p:nvPr/>
        </p:nvSpPr>
        <p:spPr>
          <a:xfrm>
            <a:off x="839755" y="2216794"/>
            <a:ext cx="3561407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ompany Accou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defTabSz="914400">
              <a:spcBef>
                <a:spcPts val="400"/>
              </a:spcBef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 Principal Nam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@emea.logondomain.ne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m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Doe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@</a:t>
            </a:r>
            <a:r>
              <a:rPr lang="en-US" sz="1200" kern="0" dirty="0" err="1">
                <a:solidFill>
                  <a:prstClr val="black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setebos</a:t>
            </a:r>
            <a:r>
              <a:rPr lang="en-US" sz="1200" kern="0" dirty="0">
                <a:solidFill>
                  <a:prstClr val="black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-a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.com</a:t>
            </a:r>
          </a:p>
          <a:p>
            <a:pPr defTabSz="914400">
              <a:spcBef>
                <a:spcPts val="400"/>
              </a:spcBef>
              <a:defRPr/>
            </a:pPr>
            <a:b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econd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  <a:endParaRPr lang="en-US" sz="1200" kern="0" dirty="0">
              <a:solidFill>
                <a:prstClr val="black"/>
              </a:solidFill>
              <a:latin typeface="Aptos" panose="020B00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88C1C89-E26F-C7F9-72F8-C45C6F547CA4}"/>
              </a:ext>
            </a:extLst>
          </p:cNvPr>
          <p:cNvSpPr/>
          <p:nvPr/>
        </p:nvSpPr>
        <p:spPr>
          <a:xfrm>
            <a:off x="7788082" y="2216794"/>
            <a:ext cx="3772963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Guest Account (Entra ID)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GuestUser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Object (EXO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Address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MTP: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mtp:Jdoe@setebos-ag.com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ignInNam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@emea.logondomain.net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Principal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_emea.logondomain.net#EXT#ixion.d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Nick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_emea.logondomain.net #EXT#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F7DFEEAA-A84A-AEE9-D5ED-A3FCBA72F8BB}"/>
              </a:ext>
            </a:extLst>
          </p:cNvPr>
          <p:cNvSpPr/>
          <p:nvPr/>
        </p:nvSpPr>
        <p:spPr>
          <a:xfrm>
            <a:off x="4718358" y="2728645"/>
            <a:ext cx="2736747" cy="3177072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Invite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defTabSz="914400">
              <a:spcBef>
                <a:spcPts val="400"/>
              </a:spcBef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 accepts the invite and logs on to the </a:t>
            </a: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inviting tenant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ntra ID queries for permission to read profile information and </a:t>
            </a:r>
            <a:r>
              <a:rPr lang="en-US" sz="1200" kern="0" dirty="0">
                <a:solidFill>
                  <a:prstClr val="black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updates</a:t>
            </a: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 the existing B2B guest account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Entra ID merges the two guest accounts with the </a:t>
            </a:r>
            <a:r>
              <a:rPr lang="en-US" sz="1200" kern="0" dirty="0" err="1">
                <a:solidFill>
                  <a:prstClr val="black"/>
                </a:solidFill>
                <a:highlight>
                  <a:srgbClr val="00FF00"/>
                </a:highlight>
                <a:latin typeface="Aptos" panose="020B0004020202020204" pitchFamily="34" charset="0"/>
              </a:rPr>
              <a:t>SignInName</a:t>
            </a: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 as </a:t>
            </a:r>
            <a:r>
              <a:rPr lang="en-US" sz="1200" kern="0" dirty="0">
                <a:solidFill>
                  <a:prstClr val="black"/>
                </a:solidFill>
                <a:highlight>
                  <a:srgbClr val="00FF00"/>
                </a:highlight>
                <a:latin typeface="Aptos" panose="020B0004020202020204" pitchFamily="34" charset="0"/>
              </a:rPr>
              <a:t>matching criteria</a:t>
            </a: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943A5B31-DE51-BBB7-2332-A1AF77EE315A}"/>
              </a:ext>
            </a:extLst>
          </p:cNvPr>
          <p:cNvSpPr/>
          <p:nvPr/>
        </p:nvSpPr>
        <p:spPr>
          <a:xfrm>
            <a:off x="3480461" y="1650558"/>
            <a:ext cx="4740608" cy="890262"/>
          </a:xfrm>
          <a:prstGeom prst="rightArrow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 Doe </a:t>
            </a:r>
            <a:r>
              <a:rPr lang="en-US" sz="1800" kern="0" dirty="0">
                <a:solidFill>
                  <a:prstClr val="white"/>
                </a:solidFill>
                <a:latin typeface="Aptos" panose="020B0004020202020204" pitchFamily="34" charset="0"/>
              </a:rPr>
              <a:t>accepts invit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587F43E-C166-13DC-2378-4C180F957D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7888" y="2752417"/>
            <a:ext cx="692645" cy="748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180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CA3DD2-DD84-173C-273F-15C3E5BAA8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ail Flow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5827B0-1BED-95C5-6F40-B660CDB51C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imary email address as of original invite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1BB6B52D-B559-B88F-C682-8A758940B9B2}"/>
              </a:ext>
            </a:extLst>
          </p:cNvPr>
          <p:cNvSpPr/>
          <p:nvPr/>
        </p:nvSpPr>
        <p:spPr>
          <a:xfrm>
            <a:off x="541176" y="1974584"/>
            <a:ext cx="4138703" cy="3940940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aruna Group – Source Tenant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F25EF0F-132A-9884-74A8-6702CEAD1345}"/>
              </a:ext>
            </a:extLst>
          </p:cNvPr>
          <p:cNvSpPr/>
          <p:nvPr/>
        </p:nvSpPr>
        <p:spPr>
          <a:xfrm>
            <a:off x="7483680" y="1974584"/>
            <a:ext cx="4318996" cy="3940940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xion – Inviting Tenant</a:t>
            </a:r>
          </a:p>
        </p:txBody>
      </p:sp>
      <p:sp>
        <p:nvSpPr>
          <p:cNvPr id="6" name="Rectangle: Rounded Corners 4">
            <a:extLst>
              <a:ext uri="{FF2B5EF4-FFF2-40B4-BE49-F238E27FC236}">
                <a16:creationId xmlns:a16="http://schemas.microsoft.com/office/drawing/2014/main" id="{605B4861-C0C4-7576-0132-B30936735262}"/>
              </a:ext>
            </a:extLst>
          </p:cNvPr>
          <p:cNvSpPr/>
          <p:nvPr/>
        </p:nvSpPr>
        <p:spPr>
          <a:xfrm>
            <a:off x="839755" y="2216794"/>
            <a:ext cx="3561407" cy="3084879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ompany Accou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defTabSz="914400">
              <a:spcBef>
                <a:spcPts val="400"/>
              </a:spcBef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 Principal Nam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@emea.logondomain.ne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m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Doe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@</a:t>
            </a:r>
            <a:r>
              <a:rPr lang="en-US" sz="1200" kern="0" dirty="0" err="1">
                <a:solidFill>
                  <a:prstClr val="black"/>
                </a:solidFill>
                <a:latin typeface="Aptos" panose="020B0004020202020204" pitchFamily="34" charset="0"/>
              </a:rPr>
              <a:t>setebos</a:t>
            </a: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-a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.com</a:t>
            </a:r>
          </a:p>
          <a:p>
            <a:pPr defTabSz="914400">
              <a:spcBef>
                <a:spcPts val="400"/>
              </a:spcBef>
              <a:defRPr/>
            </a:pPr>
            <a:b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econd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  <a:endParaRPr lang="en-US" sz="1200" kern="0" dirty="0">
              <a:solidFill>
                <a:prstClr val="black"/>
              </a:solidFill>
              <a:highlight>
                <a:srgbClr val="FFFF00"/>
              </a:highlight>
              <a:latin typeface="Aptos" panose="020B00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7" name="Rectangle: Rounded Corners 4">
            <a:extLst>
              <a:ext uri="{FF2B5EF4-FFF2-40B4-BE49-F238E27FC236}">
                <a16:creationId xmlns:a16="http://schemas.microsoft.com/office/drawing/2014/main" id="{72544E22-3A19-4871-8A38-FC15B58F56D7}"/>
              </a:ext>
            </a:extLst>
          </p:cNvPr>
          <p:cNvSpPr/>
          <p:nvPr/>
        </p:nvSpPr>
        <p:spPr>
          <a:xfrm>
            <a:off x="7788082" y="2216794"/>
            <a:ext cx="3772963" cy="3084879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Guest Account (Entra ID)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GuestUser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Object (EXO)</a:t>
            </a:r>
          </a:p>
          <a:p>
            <a:pPr defTabSz="914400">
              <a:spcBef>
                <a:spcPts val="400"/>
              </a:spcBef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Address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MTP:John.Doe@varunagroup.d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mtp:Jdoe@setebos-ag.com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Nick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_emea.logondomain.net #EXT#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1CA76969-D0A9-6132-1511-F8A15CC570AC}"/>
              </a:ext>
            </a:extLst>
          </p:cNvPr>
          <p:cNvSpPr/>
          <p:nvPr/>
        </p:nvSpPr>
        <p:spPr>
          <a:xfrm>
            <a:off x="4718358" y="2728645"/>
            <a:ext cx="2736747" cy="3177072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xion </a:t>
            </a:r>
            <a:r>
              <a:rPr lang="en-US" sz="1400" b="1" kern="0" dirty="0">
                <a:solidFill>
                  <a:prstClr val="black"/>
                </a:solidFill>
                <a:latin typeface="Aptos" panose="020B0004020202020204" pitchFamily="34" charset="0"/>
              </a:rPr>
              <a:t>user sends email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defTabSz="914400">
              <a:spcBef>
                <a:spcPts val="400"/>
              </a:spcBef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xchange Online resolves the recipient address to the existing mail user object of varunagroup.de,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pdates the recipient address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nd delivers the email to Varuna Group's mail server.</a:t>
            </a:r>
            <a:endParaRPr lang="en-US" sz="1200" kern="0" dirty="0">
              <a:solidFill>
                <a:prstClr val="black"/>
              </a:solidFill>
              <a:latin typeface="Aptos" panose="020B00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5C91994B-2B5A-AEDA-7E58-9A9D73693E80}"/>
              </a:ext>
            </a:extLst>
          </p:cNvPr>
          <p:cNvSpPr/>
          <p:nvPr/>
        </p:nvSpPr>
        <p:spPr>
          <a:xfrm flipH="1">
            <a:off x="3480461" y="1650558"/>
            <a:ext cx="4740608" cy="890262"/>
          </a:xfrm>
          <a:prstGeom prst="rightArrow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 to John Do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88549D4-5183-3D70-CC99-BFF5770D5C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7888" y="2752417"/>
            <a:ext cx="692645" cy="748503"/>
          </a:xfrm>
          <a:prstGeom prst="rect">
            <a:avLst/>
          </a:prstGeom>
        </p:spPr>
      </p:pic>
      <p:sp>
        <p:nvSpPr>
          <p:cNvPr id="11" name="Rectangle: Rounded Corners 4">
            <a:extLst>
              <a:ext uri="{FF2B5EF4-FFF2-40B4-BE49-F238E27FC236}">
                <a16:creationId xmlns:a16="http://schemas.microsoft.com/office/drawing/2014/main" id="{B1356A7B-BF03-11D0-0475-2101F7933A4D}"/>
              </a:ext>
            </a:extLst>
          </p:cNvPr>
          <p:cNvSpPr/>
          <p:nvPr/>
        </p:nvSpPr>
        <p:spPr>
          <a:xfrm>
            <a:off x="9729627" y="5965663"/>
            <a:ext cx="2362784" cy="723323"/>
          </a:xfrm>
          <a:prstGeom prst="round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Email to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JDoe@setebos-ag.com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sp>
        <p:nvSpPr>
          <p:cNvPr id="12" name="Rectangle: Rounded Corners 4">
            <a:extLst>
              <a:ext uri="{FF2B5EF4-FFF2-40B4-BE49-F238E27FC236}">
                <a16:creationId xmlns:a16="http://schemas.microsoft.com/office/drawing/2014/main" id="{02396286-3697-9805-0E50-340937E96C42}"/>
              </a:ext>
            </a:extLst>
          </p:cNvPr>
          <p:cNvSpPr/>
          <p:nvPr/>
        </p:nvSpPr>
        <p:spPr>
          <a:xfrm>
            <a:off x="6799780" y="5965662"/>
            <a:ext cx="2362784" cy="723323"/>
          </a:xfrm>
          <a:prstGeom prst="round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EXO resolves to 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John.Doe@varunagroup.de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sp>
        <p:nvSpPr>
          <p:cNvPr id="13" name="Rectangle: Rounded Corners 4">
            <a:extLst>
              <a:ext uri="{FF2B5EF4-FFF2-40B4-BE49-F238E27FC236}">
                <a16:creationId xmlns:a16="http://schemas.microsoft.com/office/drawing/2014/main" id="{19D7BD80-5957-353F-7CBF-91FD671A1595}"/>
              </a:ext>
            </a:extLst>
          </p:cNvPr>
          <p:cNvSpPr/>
          <p:nvPr/>
        </p:nvSpPr>
        <p:spPr>
          <a:xfrm>
            <a:off x="1439066" y="5965663"/>
            <a:ext cx="2362784" cy="723323"/>
          </a:xfrm>
          <a:prstGeom prst="round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Receiving address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John.Doe@varunagroup.de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7F93AE8-0BB5-E19D-4617-589C3F5FF08E}"/>
              </a:ext>
            </a:extLst>
          </p:cNvPr>
          <p:cNvCxnSpPr>
            <a:cxnSpLocks/>
            <a:stCxn id="11" idx="1"/>
            <a:endCxn id="12" idx="3"/>
          </p:cNvCxnSpPr>
          <p:nvPr/>
        </p:nvCxnSpPr>
        <p:spPr>
          <a:xfrm flipH="1" flipV="1">
            <a:off x="9162564" y="6327324"/>
            <a:ext cx="567063" cy="1"/>
          </a:xfrm>
          <a:prstGeom prst="straightConnector1">
            <a:avLst/>
          </a:prstGeom>
          <a:noFill/>
          <a:ln w="57150" cap="flat" cmpd="sng" algn="ctr">
            <a:solidFill>
              <a:srgbClr val="00ADE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8A0CB6D7-A1D0-A733-75FD-772BB5D91A9A}"/>
              </a:ext>
            </a:extLst>
          </p:cNvPr>
          <p:cNvCxnSpPr>
            <a:cxnSpLocks/>
            <a:stCxn id="12" idx="1"/>
            <a:endCxn id="13" idx="3"/>
          </p:cNvCxnSpPr>
          <p:nvPr/>
        </p:nvCxnSpPr>
        <p:spPr>
          <a:xfrm flipH="1">
            <a:off x="3801850" y="6327324"/>
            <a:ext cx="2997930" cy="1"/>
          </a:xfrm>
          <a:prstGeom prst="straightConnector1">
            <a:avLst/>
          </a:prstGeom>
          <a:noFill/>
          <a:ln w="57150" cap="flat" cmpd="sng" algn="ctr">
            <a:solidFill>
              <a:srgbClr val="00ADEF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38181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CA3DD2-DD84-173C-273F-15C3E5BAA8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ail Flow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5827B0-1BED-95C5-6F40-B660CDB51C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imary email address as of original invite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1BB6B52D-B559-B88F-C682-8A758940B9B2}"/>
              </a:ext>
            </a:extLst>
          </p:cNvPr>
          <p:cNvSpPr/>
          <p:nvPr/>
        </p:nvSpPr>
        <p:spPr>
          <a:xfrm>
            <a:off x="541176" y="1974584"/>
            <a:ext cx="4138703" cy="3940940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aruna Group – Source Tenant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F25EF0F-132A-9884-74A8-6702CEAD1345}"/>
              </a:ext>
            </a:extLst>
          </p:cNvPr>
          <p:cNvSpPr/>
          <p:nvPr/>
        </p:nvSpPr>
        <p:spPr>
          <a:xfrm>
            <a:off x="7483680" y="1974584"/>
            <a:ext cx="4318996" cy="3940940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xion – Inviting Tenant</a:t>
            </a:r>
          </a:p>
        </p:txBody>
      </p:sp>
      <p:sp>
        <p:nvSpPr>
          <p:cNvPr id="6" name="Rectangle: Rounded Corners 4">
            <a:extLst>
              <a:ext uri="{FF2B5EF4-FFF2-40B4-BE49-F238E27FC236}">
                <a16:creationId xmlns:a16="http://schemas.microsoft.com/office/drawing/2014/main" id="{605B4861-C0C4-7576-0132-B30936735262}"/>
              </a:ext>
            </a:extLst>
          </p:cNvPr>
          <p:cNvSpPr/>
          <p:nvPr/>
        </p:nvSpPr>
        <p:spPr>
          <a:xfrm>
            <a:off x="839755" y="2216794"/>
            <a:ext cx="3561407" cy="3084879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ompany Accou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defTabSz="914400">
              <a:spcBef>
                <a:spcPts val="400"/>
              </a:spcBef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 Principal Nam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@emea.logondomain.ne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m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Doe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@</a:t>
            </a:r>
            <a:r>
              <a:rPr lang="en-US" sz="1200" kern="0" dirty="0" err="1">
                <a:solidFill>
                  <a:prstClr val="black"/>
                </a:solidFill>
                <a:latin typeface="Aptos" panose="020B0004020202020204" pitchFamily="34" charset="0"/>
              </a:rPr>
              <a:t>setebos</a:t>
            </a: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-a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.co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7" name="Rectangle: Rounded Corners 4">
            <a:extLst>
              <a:ext uri="{FF2B5EF4-FFF2-40B4-BE49-F238E27FC236}">
                <a16:creationId xmlns:a16="http://schemas.microsoft.com/office/drawing/2014/main" id="{72544E22-3A19-4871-8A38-FC15B58F56D7}"/>
              </a:ext>
            </a:extLst>
          </p:cNvPr>
          <p:cNvSpPr/>
          <p:nvPr/>
        </p:nvSpPr>
        <p:spPr>
          <a:xfrm>
            <a:off x="7788082" y="2216794"/>
            <a:ext cx="3772963" cy="3084879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Guest Account (Entra ID)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GuestUser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Object (EXO)</a:t>
            </a:r>
          </a:p>
          <a:p>
            <a:pPr defTabSz="914400">
              <a:spcBef>
                <a:spcPts val="400"/>
              </a:spcBef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Address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MTP:John.Doe@varunagroup.d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mtp:Jdoe@setebos-ag.com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Nick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1234_emea.logondomain.net #EXT#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1CA76969-D0A9-6132-1511-F8A15CC570AC}"/>
              </a:ext>
            </a:extLst>
          </p:cNvPr>
          <p:cNvSpPr/>
          <p:nvPr/>
        </p:nvSpPr>
        <p:spPr>
          <a:xfrm>
            <a:off x="4718358" y="2728645"/>
            <a:ext cx="2736747" cy="3177072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solidFill>
                  <a:prstClr val="black"/>
                </a:solidFill>
                <a:latin typeface="Aptos" panose="020B0004020202020204" pitchFamily="34" charset="0"/>
              </a:rPr>
              <a:t>Varuna Domain Cleanup</a:t>
            </a:r>
          </a:p>
          <a:p>
            <a:pPr defTabSz="914400">
              <a:spcBef>
                <a:spcPts val="400"/>
              </a:spcBef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oxy address varunagroup.de deleted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lang="en-US" sz="1200" b="1" kern="0" dirty="0">
              <a:solidFill>
                <a:prstClr val="black"/>
              </a:solidFill>
              <a:latin typeface="Aptos" panose="020B00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xion </a:t>
            </a:r>
            <a:r>
              <a:rPr lang="en-US" sz="1400" b="1" kern="0" dirty="0">
                <a:solidFill>
                  <a:prstClr val="black"/>
                </a:solidFill>
                <a:latin typeface="Aptos" panose="020B0004020202020204" pitchFamily="34" charset="0"/>
              </a:rPr>
              <a:t>user sends email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defTabSz="914400">
              <a:spcBef>
                <a:spcPts val="400"/>
              </a:spcBef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xchange Online resolves the recipient address to the existing mail user object of varunagroup.de,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pdates the recipient address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nd delivers the email to Varuna Group's mail server.</a:t>
            </a:r>
            <a:endParaRPr lang="en-US" sz="1200" kern="0" dirty="0">
              <a:solidFill>
                <a:prstClr val="black"/>
              </a:solidFill>
              <a:latin typeface="Aptos" panose="020B00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5C91994B-2B5A-AEDA-7E58-9A9D73693E80}"/>
              </a:ext>
            </a:extLst>
          </p:cNvPr>
          <p:cNvSpPr/>
          <p:nvPr/>
        </p:nvSpPr>
        <p:spPr>
          <a:xfrm flipH="1">
            <a:off x="3480461" y="1650558"/>
            <a:ext cx="4740608" cy="890262"/>
          </a:xfrm>
          <a:prstGeom prst="rightArrow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 to John Do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88549D4-5183-3D70-CC99-BFF5770D5C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7888" y="2752417"/>
            <a:ext cx="692645" cy="748503"/>
          </a:xfrm>
          <a:prstGeom prst="rect">
            <a:avLst/>
          </a:prstGeom>
        </p:spPr>
      </p:pic>
      <p:sp>
        <p:nvSpPr>
          <p:cNvPr id="11" name="Rectangle: Rounded Corners 4">
            <a:extLst>
              <a:ext uri="{FF2B5EF4-FFF2-40B4-BE49-F238E27FC236}">
                <a16:creationId xmlns:a16="http://schemas.microsoft.com/office/drawing/2014/main" id="{B1356A7B-BF03-11D0-0475-2101F7933A4D}"/>
              </a:ext>
            </a:extLst>
          </p:cNvPr>
          <p:cNvSpPr/>
          <p:nvPr/>
        </p:nvSpPr>
        <p:spPr>
          <a:xfrm>
            <a:off x="9729627" y="5965663"/>
            <a:ext cx="2362784" cy="723323"/>
          </a:xfrm>
          <a:prstGeom prst="round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Email to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JDoe@setebos-ag.com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sp>
        <p:nvSpPr>
          <p:cNvPr id="12" name="Rectangle: Rounded Corners 4">
            <a:extLst>
              <a:ext uri="{FF2B5EF4-FFF2-40B4-BE49-F238E27FC236}">
                <a16:creationId xmlns:a16="http://schemas.microsoft.com/office/drawing/2014/main" id="{02396286-3697-9805-0E50-340937E96C42}"/>
              </a:ext>
            </a:extLst>
          </p:cNvPr>
          <p:cNvSpPr/>
          <p:nvPr/>
        </p:nvSpPr>
        <p:spPr>
          <a:xfrm>
            <a:off x="6799780" y="5965662"/>
            <a:ext cx="2362784" cy="723323"/>
          </a:xfrm>
          <a:prstGeom prst="round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EXO resolves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and updates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to 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John.Doe@varunagroup.de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sp>
        <p:nvSpPr>
          <p:cNvPr id="13" name="Rectangle: Rounded Corners 4">
            <a:extLst>
              <a:ext uri="{FF2B5EF4-FFF2-40B4-BE49-F238E27FC236}">
                <a16:creationId xmlns:a16="http://schemas.microsoft.com/office/drawing/2014/main" id="{19D7BD80-5957-353F-7CBF-91FD671A1595}"/>
              </a:ext>
            </a:extLst>
          </p:cNvPr>
          <p:cNvSpPr/>
          <p:nvPr/>
        </p:nvSpPr>
        <p:spPr>
          <a:xfrm>
            <a:off x="1439066" y="5965663"/>
            <a:ext cx="2362784" cy="723323"/>
          </a:xfrm>
          <a:prstGeom prst="round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Non-existing address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</a:rPr>
              <a:t>John.Doe@varunagroup.de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7F93AE8-0BB5-E19D-4617-589C3F5FF08E}"/>
              </a:ext>
            </a:extLst>
          </p:cNvPr>
          <p:cNvCxnSpPr>
            <a:cxnSpLocks/>
            <a:stCxn id="11" idx="1"/>
            <a:endCxn id="12" idx="3"/>
          </p:cNvCxnSpPr>
          <p:nvPr/>
        </p:nvCxnSpPr>
        <p:spPr>
          <a:xfrm flipH="1" flipV="1">
            <a:off x="9162564" y="6327324"/>
            <a:ext cx="567063" cy="1"/>
          </a:xfrm>
          <a:prstGeom prst="straightConnector1">
            <a:avLst/>
          </a:prstGeom>
          <a:noFill/>
          <a:ln w="57150" cap="flat" cmpd="sng" algn="ctr">
            <a:solidFill>
              <a:srgbClr val="00ADE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8A0CB6D7-A1D0-A733-75FD-772BB5D91A9A}"/>
              </a:ext>
            </a:extLst>
          </p:cNvPr>
          <p:cNvCxnSpPr>
            <a:cxnSpLocks/>
            <a:stCxn id="12" idx="1"/>
            <a:endCxn id="16" idx="3"/>
          </p:cNvCxnSpPr>
          <p:nvPr/>
        </p:nvCxnSpPr>
        <p:spPr>
          <a:xfrm flipH="1">
            <a:off x="4423395" y="6327324"/>
            <a:ext cx="2376385" cy="1"/>
          </a:xfrm>
          <a:prstGeom prst="straightConnector1">
            <a:avLst/>
          </a:prstGeom>
          <a:noFill/>
          <a:ln w="57150" cap="flat" cmpd="sng" algn="ctr">
            <a:solidFill>
              <a:srgbClr val="00ADEF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16" name="Grafik 15" descr="Marke Kreuz mit einfarbiger Füllung">
            <a:extLst>
              <a:ext uri="{FF2B5EF4-FFF2-40B4-BE49-F238E27FC236}">
                <a16:creationId xmlns:a16="http://schemas.microsoft.com/office/drawing/2014/main" id="{2DD8B246-949D-08FD-A7A1-DA9BEFC7D4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47368" y="5989311"/>
            <a:ext cx="676027" cy="676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086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0C623BE-F2A4-4533-A1A9-91CF237E6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2B Guest Account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98BD0FF-23BA-4749-AAD8-3970D867F2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ntra ID Magic</a:t>
            </a:r>
          </a:p>
        </p:txBody>
      </p:sp>
    </p:spTree>
    <p:extLst>
      <p:ext uri="{BB962C8B-B14F-4D97-AF65-F5344CB8AC3E}">
        <p14:creationId xmlns:p14="http://schemas.microsoft.com/office/powerpoint/2010/main" val="826133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0A0AA-DC42-B320-7BD6-B704D910D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ummary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B0DDC5-8155-C50E-E739-B1BDE3E8EB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54A9813E-0B8F-C2B0-178C-8BF76E60B58D}"/>
              </a:ext>
            </a:extLst>
          </p:cNvPr>
          <p:cNvSpPr txBox="1">
            <a:spLocks/>
          </p:cNvSpPr>
          <p:nvPr/>
        </p:nvSpPr>
        <p:spPr>
          <a:xfrm>
            <a:off x="516252" y="1483952"/>
            <a:ext cx="11134410" cy="4320000"/>
          </a:xfrm>
          <a:prstGeom prst="rect">
            <a:avLst/>
          </a:prstGeom>
        </p:spPr>
        <p:txBody>
          <a:bodyPr/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tx1"/>
                </a:solidFill>
                <a:latin typeface="Aptos Light" panose="020B000402020202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Aptos Light" panose="020B000402020202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tx1"/>
                </a:solidFill>
                <a:latin typeface="Aptos Light" panose="020B000402020202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ptos Light" panose="020B000402020202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ptos Light" panose="020B000402020202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 inviting tenant adds email addresses to an existing guest account, if the guest uses a dedicated user principal name as sign in name</a:t>
            </a:r>
          </a:p>
          <a:p>
            <a:r>
              <a:rPr lang="en-US" dirty="0"/>
              <a:t>Email delivery fails to the original email address of the guest user if the address is removed from the account, e.g., domain renaming, carve-out, etc.</a:t>
            </a:r>
          </a:p>
          <a:p>
            <a:r>
              <a:rPr lang="en-US" dirty="0"/>
              <a:t>As </a:t>
            </a:r>
            <a:r>
              <a:rPr lang="en-US"/>
              <a:t>an inviting party </a:t>
            </a:r>
            <a:r>
              <a:rPr lang="en-US" dirty="0"/>
              <a:t>for </a:t>
            </a:r>
            <a:r>
              <a:rPr lang="en-US"/>
              <a:t>B2B you </a:t>
            </a:r>
            <a:r>
              <a:rPr lang="en-US" dirty="0"/>
              <a:t>must update the B2B guest account manually</a:t>
            </a:r>
          </a:p>
          <a:p>
            <a:r>
              <a:rPr lang="en-US" dirty="0"/>
              <a:t>If you update email addresses in your tenant, you should information your partners</a:t>
            </a:r>
          </a:p>
        </p:txBody>
      </p:sp>
    </p:spTree>
    <p:extLst>
      <p:ext uri="{BB962C8B-B14F-4D97-AF65-F5344CB8AC3E}">
        <p14:creationId xmlns:p14="http://schemas.microsoft.com/office/powerpoint/2010/main" val="58027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Questions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ADB25ED-3906-4D9E-8557-A35C93D000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2E527F1-2D2B-4E9B-80CF-A57851DB1DDA}"/>
              </a:ext>
            </a:extLst>
          </p:cNvPr>
          <p:cNvSpPr txBox="1"/>
          <p:nvPr/>
        </p:nvSpPr>
        <p:spPr>
          <a:xfrm>
            <a:off x="7775168" y="6409266"/>
            <a:ext cx="44152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latin typeface="Aptos" panose="020B0004020202020204" pitchFamily="34" charset="0"/>
              </a:rPr>
              <a:t>Slides by </a:t>
            </a:r>
            <a:r>
              <a:rPr lang="en-US" sz="2000" u="sng" noProof="1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hlinkClick r:id="rId3"/>
              </a:rPr>
              <a:t>www.SUBTITLE.com</a:t>
            </a:r>
            <a:endParaRPr lang="en-US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4184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5F6780-642A-42ED-AB56-D47FDB5B2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B3574BB-9A1A-45C2-8B6D-609C2D276C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15734D9-F780-4CC2-9DF6-005293538F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6255" y="1520890"/>
            <a:ext cx="5579745" cy="46560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kern="0" dirty="0"/>
              <a:t>Thomas Stensitzki</a:t>
            </a:r>
          </a:p>
          <a:p>
            <a:pPr marL="0" indent="0">
              <a:buNone/>
            </a:pPr>
            <a:r>
              <a:rPr lang="en-US" sz="2000" kern="0" dirty="0" err="1"/>
              <a:t>Experte</a:t>
            </a:r>
            <a:br>
              <a:rPr lang="en-US" sz="2000" kern="0" dirty="0"/>
            </a:br>
            <a:r>
              <a:rPr lang="en-US" sz="2000" kern="0" dirty="0"/>
              <a:t>Granikos GmbH &amp; Co. KG</a:t>
            </a:r>
            <a:br>
              <a:rPr lang="en-US" sz="2000" kern="0" dirty="0"/>
            </a:br>
            <a:br>
              <a:rPr lang="en-US" sz="2000" kern="0" dirty="0"/>
            </a:br>
            <a:r>
              <a:rPr lang="en-US" sz="2000" kern="0" dirty="0"/>
              <a:t>MVP | MCT | MCSM</a:t>
            </a:r>
            <a:br>
              <a:rPr lang="en-US" sz="2000" kern="0" dirty="0"/>
            </a:br>
            <a:br>
              <a:rPr lang="en-US" sz="2000" kern="0" dirty="0"/>
            </a:br>
            <a:br>
              <a:rPr lang="en-US" sz="2000" kern="0" dirty="0"/>
            </a:br>
            <a:br>
              <a:rPr lang="en-US" sz="2000" kern="0" dirty="0"/>
            </a:br>
            <a:br>
              <a:rPr lang="en-US" sz="2000" kern="0" dirty="0"/>
            </a:br>
            <a:r>
              <a:rPr lang="en-US" sz="2000" kern="0" dirty="0"/>
              <a:t>@stensitzki.bsky.social</a:t>
            </a:r>
            <a:br>
              <a:rPr lang="en-US" sz="2000" kern="0" dirty="0"/>
            </a:br>
            <a:r>
              <a:rPr lang="en-US" sz="2000" kern="0" dirty="0">
                <a:hlinkClick r:id="rId3"/>
              </a:rPr>
              <a:t>thomas.stensitzki@granikos.eu</a:t>
            </a:r>
            <a:r>
              <a:rPr lang="en-US" sz="2000" kern="0" dirty="0"/>
              <a:t> </a:t>
            </a:r>
          </a:p>
          <a:p>
            <a:pPr marL="0" indent="0">
              <a:buNone/>
            </a:pPr>
            <a:r>
              <a:rPr lang="en-US" sz="2000" kern="0" dirty="0">
                <a:hlinkClick r:id="rId4"/>
              </a:rPr>
              <a:t>https://linktr.ee/stensitzki</a:t>
            </a:r>
            <a:r>
              <a:rPr lang="en-US" sz="2000" kern="0" dirty="0"/>
              <a:t> </a:t>
            </a:r>
          </a:p>
        </p:txBody>
      </p:sp>
      <p:pic>
        <p:nvPicPr>
          <p:cNvPr id="11" name="Grafik 10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DE0E1E80-8730-462E-831E-20E5E09CF6D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6547" y="1520890"/>
            <a:ext cx="1726913" cy="696744"/>
          </a:xfrm>
          <a:prstGeom prst="rect">
            <a:avLst/>
          </a:prstGeom>
        </p:spPr>
      </p:pic>
      <p:sp>
        <p:nvSpPr>
          <p:cNvPr id="3" name="AutoShape 2">
            <a:extLst>
              <a:ext uri="{FF2B5EF4-FFF2-40B4-BE49-F238E27FC236}">
                <a16:creationId xmlns:a16="http://schemas.microsoft.com/office/drawing/2014/main" id="{756F72CA-B5E9-B0A1-A39A-10530990045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2013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ptos" panose="020B000402020202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DB5A308-D5B5-8560-4543-EA09207619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6255" y="5391058"/>
            <a:ext cx="1329257" cy="1329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883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455BF6F-A70B-9A2D-3F9A-537FDE15E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requisites for the scenario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F6C86C-FB68-14F1-700A-F66201E4E2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30520E7-5CA1-2A71-20D2-8E354DABB9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r principal name and primary email address are not identical</a:t>
            </a:r>
          </a:p>
          <a:p>
            <a:endParaRPr lang="en-US" dirty="0"/>
          </a:p>
          <a:p>
            <a:r>
              <a:rPr lang="en-US" dirty="0"/>
              <a:t>Example UPN</a:t>
            </a:r>
          </a:p>
          <a:p>
            <a:pPr lvl="1"/>
            <a:r>
              <a:rPr lang="en-US" dirty="0">
                <a:latin typeface="Aptos Mono" panose="020B0009020202020204" pitchFamily="49" charset="0"/>
              </a:rPr>
              <a:t>P1234@upn.logondomain.net</a:t>
            </a:r>
          </a:p>
          <a:p>
            <a:pPr lvl="1"/>
            <a:endParaRPr lang="en-US" dirty="0"/>
          </a:p>
          <a:p>
            <a:r>
              <a:rPr lang="en-US" dirty="0"/>
              <a:t>Primary email address</a:t>
            </a:r>
          </a:p>
          <a:p>
            <a:pPr lvl="1"/>
            <a:r>
              <a:rPr lang="en-US" dirty="0">
                <a:latin typeface="Aptos Mono" panose="020B0009020202020204" pitchFamily="49" charset="0"/>
              </a:rPr>
              <a:t>John.Doe@varunagroup.de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6753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647C9D04-2E97-F1A0-287B-C867585712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2B Use-Cas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5D47AB6-550E-93DA-B44C-4A4A8B2597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511754A8-4302-8789-929A-33238600558D}"/>
              </a:ext>
            </a:extLst>
          </p:cNvPr>
          <p:cNvSpPr/>
          <p:nvPr/>
        </p:nvSpPr>
        <p:spPr>
          <a:xfrm>
            <a:off x="541176" y="1974583"/>
            <a:ext cx="4138703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aruna Group – Source Tenant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44DF1CF4-0CEA-2B36-77AD-2976F5DEAD61}"/>
              </a:ext>
            </a:extLst>
          </p:cNvPr>
          <p:cNvSpPr/>
          <p:nvPr/>
        </p:nvSpPr>
        <p:spPr>
          <a:xfrm>
            <a:off x="7483680" y="1974583"/>
            <a:ext cx="4318996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xion – Inviting Tenant</a:t>
            </a:r>
          </a:p>
        </p:txBody>
      </p:sp>
      <p:sp>
        <p:nvSpPr>
          <p:cNvPr id="12" name="Rectangle: Rounded Corners 4">
            <a:extLst>
              <a:ext uri="{FF2B5EF4-FFF2-40B4-BE49-F238E27FC236}">
                <a16:creationId xmlns:a16="http://schemas.microsoft.com/office/drawing/2014/main" id="{11EB506F-A994-C77F-70EF-243EE5CE3B12}"/>
              </a:ext>
            </a:extLst>
          </p:cNvPr>
          <p:cNvSpPr/>
          <p:nvPr/>
        </p:nvSpPr>
        <p:spPr>
          <a:xfrm>
            <a:off x="839755" y="2216794"/>
            <a:ext cx="3561407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m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</a:p>
        </p:txBody>
      </p:sp>
      <p:sp>
        <p:nvSpPr>
          <p:cNvPr id="13" name="Rectangle: Rounded Corners 4">
            <a:extLst>
              <a:ext uri="{FF2B5EF4-FFF2-40B4-BE49-F238E27FC236}">
                <a16:creationId xmlns:a16="http://schemas.microsoft.com/office/drawing/2014/main" id="{72BD999E-8AD6-E58B-9731-3B1F212E97BB}"/>
              </a:ext>
            </a:extLst>
          </p:cNvPr>
          <p:cNvSpPr/>
          <p:nvPr/>
        </p:nvSpPr>
        <p:spPr>
          <a:xfrm>
            <a:off x="7788082" y="2216794"/>
            <a:ext cx="3772963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E29A1E4C-0044-A067-E7C5-7528DB39EA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4911" y="2326920"/>
            <a:ext cx="2016533" cy="35158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C5DBDA31-DC48-96EF-FBCF-F2F113AA0BAF}"/>
              </a:ext>
            </a:extLst>
          </p:cNvPr>
          <p:cNvSpPr/>
          <p:nvPr/>
        </p:nvSpPr>
        <p:spPr>
          <a:xfrm>
            <a:off x="3309011" y="3500920"/>
            <a:ext cx="5834989" cy="890262"/>
          </a:xfrm>
          <a:prstGeom prst="rightArrow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 is to work in a team at Ixion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A92C7F0B-7325-411E-2300-A1F1F5125C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7888" y="2752417"/>
            <a:ext cx="692645" cy="748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68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42D82D-E586-985D-F10D-A04669EE65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2B Use-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2DFE1A-8E4B-6C7B-B373-D16664ACE8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9303DC8-9E63-26BF-29FE-10EF10723420}"/>
              </a:ext>
            </a:extLst>
          </p:cNvPr>
          <p:cNvSpPr/>
          <p:nvPr/>
        </p:nvSpPr>
        <p:spPr>
          <a:xfrm>
            <a:off x="541176" y="1974583"/>
            <a:ext cx="4138703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aruna Group – Source Tenant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FA71A262-F8E0-8D8A-B358-C820D8C9BB48}"/>
              </a:ext>
            </a:extLst>
          </p:cNvPr>
          <p:cNvSpPr/>
          <p:nvPr/>
        </p:nvSpPr>
        <p:spPr>
          <a:xfrm>
            <a:off x="7483680" y="1974583"/>
            <a:ext cx="4318996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xion – Inviting Tenant</a:t>
            </a:r>
          </a:p>
        </p:txBody>
      </p:sp>
      <p:sp>
        <p:nvSpPr>
          <p:cNvPr id="6" name="Rectangle: Rounded Corners 4">
            <a:extLst>
              <a:ext uri="{FF2B5EF4-FFF2-40B4-BE49-F238E27FC236}">
                <a16:creationId xmlns:a16="http://schemas.microsoft.com/office/drawing/2014/main" id="{DA00405E-7FC9-76D6-D84D-6DBDA93CF4F2}"/>
              </a:ext>
            </a:extLst>
          </p:cNvPr>
          <p:cNvSpPr/>
          <p:nvPr/>
        </p:nvSpPr>
        <p:spPr>
          <a:xfrm>
            <a:off x="839755" y="2216794"/>
            <a:ext cx="3561407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m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</a:p>
        </p:txBody>
      </p:sp>
      <p:sp>
        <p:nvSpPr>
          <p:cNvPr id="7" name="Rectangle: Rounded Corners 4">
            <a:extLst>
              <a:ext uri="{FF2B5EF4-FFF2-40B4-BE49-F238E27FC236}">
                <a16:creationId xmlns:a16="http://schemas.microsoft.com/office/drawing/2014/main" id="{2E780D7D-83CE-1A99-2BF5-4BED37509109}"/>
              </a:ext>
            </a:extLst>
          </p:cNvPr>
          <p:cNvSpPr/>
          <p:nvPr/>
        </p:nvSpPr>
        <p:spPr>
          <a:xfrm>
            <a:off x="7788082" y="2216794"/>
            <a:ext cx="3772963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934306E-A317-D5E7-E710-F1099032AF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4911" y="2326920"/>
            <a:ext cx="2016533" cy="35158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448BE8C2-3E25-F9B4-D3B8-ECADE307B3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9619" y="3123343"/>
            <a:ext cx="3302626" cy="192102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32C2920C-F47A-903A-7A7B-90E80A459A18}"/>
              </a:ext>
            </a:extLst>
          </p:cNvPr>
          <p:cNvSpPr/>
          <p:nvPr/>
        </p:nvSpPr>
        <p:spPr>
          <a:xfrm flipH="1">
            <a:off x="3309011" y="3500920"/>
            <a:ext cx="4740608" cy="890262"/>
          </a:xfrm>
          <a:prstGeom prst="rightArrow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 Doe receives an invite by email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AAFB92A-C517-CF17-0D52-AAE2485565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47888" y="2752417"/>
            <a:ext cx="692645" cy="748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842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E7AA7E8-8006-4E1F-A566-FCF37EE6F3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447"/>
            <a:ext cx="12190413" cy="6857107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/>
            <a:endParaRPr lang="en-US" sz="1800" dirty="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4C22336-6B32-309D-61F7-2C9A7348F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878" y="1598485"/>
            <a:ext cx="4626107" cy="5122318"/>
          </a:xfrm>
        </p:spPr>
        <p:txBody>
          <a:bodyPr vert="horz" lIns="91428" tIns="45714" rIns="91428" bIns="45714" rtlCol="0" anchor="t">
            <a:normAutofit/>
          </a:bodyPr>
          <a:lstStyle/>
          <a:p>
            <a:pPr algn="r"/>
            <a:r>
              <a:rPr lang="en-US" sz="4000" dirty="0">
                <a:solidFill>
                  <a:srgbClr val="FFFFFF"/>
                </a:solidFill>
              </a:rPr>
              <a:t>What happens technically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83776E-6A21-8716-D3A4-0609D40A35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92240" y="1591080"/>
            <a:ext cx="5671437" cy="5094558"/>
          </a:xfrm>
        </p:spPr>
        <p:txBody>
          <a:bodyPr vert="horz" lIns="91428" tIns="45714" rIns="91428" bIns="45714" rtlCol="0">
            <a:normAutofit/>
          </a:bodyPr>
          <a:lstStyle/>
          <a:p>
            <a:r>
              <a:rPr lang="en-US" sz="4400" dirty="0">
                <a:solidFill>
                  <a:srgbClr val="FFFFFF"/>
                </a:solidFill>
                <a:latin typeface="Aptos" panose="020B0004020202020204" pitchFamily="34" charset="0"/>
                <a:ea typeface="+mn-ea"/>
              </a:rPr>
              <a:t>Entra ID Invit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6020367-4FD5-4596-8E10-C5F095CD8D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446612" y="1589608"/>
            <a:ext cx="0" cy="5259069"/>
          </a:xfrm>
          <a:prstGeom prst="line">
            <a:avLst/>
          </a:prstGeom>
          <a:ln w="25400" cap="sq">
            <a:solidFill>
              <a:srgbClr val="FFFFFF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3269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0E0B86D-1556-BBC3-E914-05AAA9147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2B Account – Step 1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477B3F6-03FD-44B8-1FF4-36FA02A51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imary email address and user principal name are identical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9FDC71C9-2291-FE8A-7EF3-3D137F67DEED}"/>
              </a:ext>
            </a:extLst>
          </p:cNvPr>
          <p:cNvSpPr/>
          <p:nvPr/>
        </p:nvSpPr>
        <p:spPr>
          <a:xfrm>
            <a:off x="541176" y="1974583"/>
            <a:ext cx="4138703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aruna Group – Source Tenant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613F0A79-3DF8-474D-4E36-9B3EAC5582C0}"/>
              </a:ext>
            </a:extLst>
          </p:cNvPr>
          <p:cNvSpPr/>
          <p:nvPr/>
        </p:nvSpPr>
        <p:spPr>
          <a:xfrm>
            <a:off x="7483680" y="1974583"/>
            <a:ext cx="4318996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xion – Inviting Tenant</a:t>
            </a: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84DE2B31-997A-C3A2-9672-B8BEA19D5F7B}"/>
              </a:ext>
            </a:extLst>
          </p:cNvPr>
          <p:cNvSpPr/>
          <p:nvPr/>
        </p:nvSpPr>
        <p:spPr>
          <a:xfrm>
            <a:off x="839755" y="2216794"/>
            <a:ext cx="3561407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ompany Accou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m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9" name="Rectangle: Rounded Corners 4">
            <a:extLst>
              <a:ext uri="{FF2B5EF4-FFF2-40B4-BE49-F238E27FC236}">
                <a16:creationId xmlns:a16="http://schemas.microsoft.com/office/drawing/2014/main" id="{81663ACA-246B-BF62-E4E5-6F33A4CB7FCE}"/>
              </a:ext>
            </a:extLst>
          </p:cNvPr>
          <p:cNvSpPr/>
          <p:nvPr/>
        </p:nvSpPr>
        <p:spPr>
          <a:xfrm>
            <a:off x="7788082" y="2216794"/>
            <a:ext cx="3772963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Guest Account (Entra ID)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GuestUser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Object (EXO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Address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MTP:John.Doe@varunagroup.d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ignInNam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Principal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_varunagroup.de#EXT#ixion.d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Nick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_varunagroup.de#EX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#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id="{2AF009F9-617A-9B78-937D-0CB38CC84B06}"/>
              </a:ext>
            </a:extLst>
          </p:cNvPr>
          <p:cNvSpPr/>
          <p:nvPr/>
        </p:nvSpPr>
        <p:spPr>
          <a:xfrm>
            <a:off x="4718358" y="2728645"/>
            <a:ext cx="2736747" cy="3177072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Invite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nvite to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ntra ID creates a new B2B guest account using the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 addres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as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Name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 err="1">
                <a:solidFill>
                  <a:prstClr val="black"/>
                </a:solidFill>
                <a:latin typeface="Aptos" panose="020B0004020202020204" pitchFamily="34" charset="0"/>
              </a:rPr>
              <a:t>SignInName</a:t>
            </a:r>
            <a:endParaRPr lang="en-US" sz="1200" kern="0" dirty="0">
              <a:solidFill>
                <a:prstClr val="black"/>
              </a:solidFill>
              <a:latin typeface="Aptos" panose="020B0004020202020204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 Principal Name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Exchange Online Directory Services creates a mail user object 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F28A8F29-C1B4-4BB0-F1E2-A87213F4FCBE}"/>
              </a:ext>
            </a:extLst>
          </p:cNvPr>
          <p:cNvSpPr/>
          <p:nvPr/>
        </p:nvSpPr>
        <p:spPr>
          <a:xfrm flipH="1">
            <a:off x="3480461" y="1650558"/>
            <a:ext cx="4740608" cy="890262"/>
          </a:xfrm>
          <a:prstGeom prst="rightArrow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 Doe receives an invite by email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5F48581-F3BB-3E3D-CF56-6BE465C941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7888" y="2752417"/>
            <a:ext cx="692645" cy="748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224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CA3DD2-DD84-173C-273F-15C3E5BAA8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2B Account – Step 2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5827B0-1BED-95C5-6F40-B660CDB51C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imary email address and user principal name are identical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1BB6B52D-B559-B88F-C682-8A758940B9B2}"/>
              </a:ext>
            </a:extLst>
          </p:cNvPr>
          <p:cNvSpPr/>
          <p:nvPr/>
        </p:nvSpPr>
        <p:spPr>
          <a:xfrm>
            <a:off x="541176" y="1974583"/>
            <a:ext cx="4138703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Varuna Group – Source Tenant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F25EF0F-132A-9884-74A8-6702CEAD1345}"/>
              </a:ext>
            </a:extLst>
          </p:cNvPr>
          <p:cNvSpPr/>
          <p:nvPr/>
        </p:nvSpPr>
        <p:spPr>
          <a:xfrm>
            <a:off x="7483680" y="1974583"/>
            <a:ext cx="4318996" cy="4631489"/>
          </a:xfrm>
          <a:prstGeom prst="round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Ixion – Inviting Tenant</a:t>
            </a:r>
          </a:p>
        </p:txBody>
      </p:sp>
      <p:sp>
        <p:nvSpPr>
          <p:cNvPr id="6" name="Rectangle: Rounded Corners 4">
            <a:extLst>
              <a:ext uri="{FF2B5EF4-FFF2-40B4-BE49-F238E27FC236}">
                <a16:creationId xmlns:a16="http://schemas.microsoft.com/office/drawing/2014/main" id="{605B4861-C0C4-7576-0132-B30936735262}"/>
              </a:ext>
            </a:extLst>
          </p:cNvPr>
          <p:cNvSpPr/>
          <p:nvPr/>
        </p:nvSpPr>
        <p:spPr>
          <a:xfrm>
            <a:off x="839755" y="2216794"/>
            <a:ext cx="3561407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Company Accou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imary SMTP Addres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7" name="Rectangle: Rounded Corners 4">
            <a:extLst>
              <a:ext uri="{FF2B5EF4-FFF2-40B4-BE49-F238E27FC236}">
                <a16:creationId xmlns:a16="http://schemas.microsoft.com/office/drawing/2014/main" id="{72544E22-3A19-4871-8A38-FC15B58F56D7}"/>
              </a:ext>
            </a:extLst>
          </p:cNvPr>
          <p:cNvSpPr/>
          <p:nvPr/>
        </p:nvSpPr>
        <p:spPr>
          <a:xfrm>
            <a:off x="7788082" y="2216794"/>
            <a:ext cx="3772963" cy="373613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Guest Account (Entra ID)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GuestUser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Object (EXO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mailAddress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MTP:John.Doe@varunagroup.d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ignInNam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@varunagroup.d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Principal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_varunagroup.de#EXT#ixion.d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ilNickName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.Doe_varunagroup.de#EX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#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1CA76969-D0A9-6132-1511-F8A15CC570AC}"/>
              </a:ext>
            </a:extLst>
          </p:cNvPr>
          <p:cNvSpPr/>
          <p:nvPr/>
        </p:nvSpPr>
        <p:spPr>
          <a:xfrm>
            <a:off x="4718358" y="2728645"/>
            <a:ext cx="2736747" cy="3177072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2B Invite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User accepts the invite and logs on to the </a:t>
            </a: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inviting tenant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Entra ID queries for permission to read profile information for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solidFill>
                  <a:prstClr val="black"/>
                </a:solidFill>
                <a:latin typeface="Aptos" panose="020B0004020202020204" pitchFamily="34" charset="0"/>
              </a:rPr>
              <a:t>Name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5C91994B-2B5A-AEDA-7E58-9A9D73693E80}"/>
              </a:ext>
            </a:extLst>
          </p:cNvPr>
          <p:cNvSpPr/>
          <p:nvPr/>
        </p:nvSpPr>
        <p:spPr>
          <a:xfrm>
            <a:off x="3480461" y="1650558"/>
            <a:ext cx="4740608" cy="890262"/>
          </a:xfrm>
          <a:prstGeom prst="rightArrow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John Doe accepts invit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88549D4-5183-3D70-CC99-BFF5770D5C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7888" y="2752417"/>
            <a:ext cx="692645" cy="748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908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E7AA7E8-8006-4E1F-A566-FCF37EE6F3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447"/>
            <a:ext cx="12190413" cy="6857107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/>
            <a:endParaRPr lang="en-US" sz="1800" dirty="0">
              <a:solidFill>
                <a:srgbClr val="FFFFFF"/>
              </a:solidFill>
              <a:latin typeface="Aptos" panose="020B00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4C22336-6B32-309D-61F7-2C9A7348F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878" y="1598485"/>
            <a:ext cx="4626107" cy="5122318"/>
          </a:xfrm>
        </p:spPr>
        <p:txBody>
          <a:bodyPr vert="horz" lIns="91428" tIns="45714" rIns="91428" bIns="45714" rtlCol="0" anchor="t">
            <a:noAutofit/>
          </a:bodyPr>
          <a:lstStyle/>
          <a:p>
            <a:pPr algn="r"/>
            <a:r>
              <a:rPr lang="en-US" sz="4000" dirty="0">
                <a:solidFill>
                  <a:srgbClr val="FFFFFF"/>
                </a:solidFill>
              </a:rPr>
              <a:t>So far so good</a:t>
            </a:r>
            <a:br>
              <a:rPr lang="en-US" sz="4000" dirty="0">
                <a:solidFill>
                  <a:srgbClr val="FFFFFF"/>
                </a:solidFill>
              </a:rPr>
            </a:br>
            <a:br>
              <a:rPr lang="en-US" sz="4000" dirty="0">
                <a:solidFill>
                  <a:srgbClr val="FFFFFF"/>
                </a:solidFill>
              </a:rPr>
            </a:br>
            <a:r>
              <a:rPr lang="en-US" sz="4000" dirty="0">
                <a:solidFill>
                  <a:srgbClr val="FFFFFF"/>
                </a:solidFill>
              </a:rPr>
              <a:t>But what happens if primary email address and user principal name are not identical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83776E-6A21-8716-D3A4-0609D40A35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92240" y="1591080"/>
            <a:ext cx="5671437" cy="5094558"/>
          </a:xfrm>
        </p:spPr>
        <p:txBody>
          <a:bodyPr vert="horz" lIns="91428" tIns="45714" rIns="91428" bIns="45714" rtlCol="0">
            <a:normAutofit/>
          </a:bodyPr>
          <a:lstStyle/>
          <a:p>
            <a:endParaRPr lang="en-US" sz="4400" dirty="0">
              <a:solidFill>
                <a:srgbClr val="FFFFFF"/>
              </a:solidFill>
              <a:latin typeface="Aptos" panose="020B0004020202020204" pitchFamily="34" charset="0"/>
              <a:ea typeface="+mn-ea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6020367-4FD5-4596-8E10-C5F095CD8D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446612" y="1589608"/>
            <a:ext cx="0" cy="5259069"/>
          </a:xfrm>
          <a:prstGeom prst="line">
            <a:avLst/>
          </a:prstGeom>
          <a:ln w="25400" cap="sq">
            <a:solidFill>
              <a:srgbClr val="FFFFFF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0136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EE4P_LANGUAGE_ID" val="10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lFdPMWTHieVi7n.jQd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L8ozTCQO2h6XDSMmSUvw"/>
</p:tagLst>
</file>

<file path=ppt/theme/theme1.xml><?xml version="1.0" encoding="utf-8"?>
<a:theme xmlns:a="http://schemas.openxmlformats.org/drawingml/2006/main" name="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F67FF0C-3580-461F-AA72-43D35E1A938B}" vid="{4579BDD5-BA1B-4A8E-AF3B-A6252E6F7571}"/>
    </a:ext>
  </a:extLst>
</a:theme>
</file>

<file path=ppt/theme/theme2.xml><?xml version="1.0" encoding="utf-8"?>
<a:theme xmlns:a="http://schemas.openxmlformats.org/drawingml/2006/main" name="2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F67FF0C-3580-461F-AA72-43D35E1A938B}" vid="{04FA8C21-5E6A-47C8-83B1-E644F16EA074}"/>
    </a:ext>
  </a:extLst>
</a:theme>
</file>

<file path=ppt/theme/theme3.xml><?xml version="1.0" encoding="utf-8"?>
<a:theme xmlns:a="http://schemas.openxmlformats.org/drawingml/2006/main" name="1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F67FF0C-3580-461F-AA72-43D35E1A938B}" vid="{7D6B6793-E10C-4137-BEBC-237E7F03433C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F81422D0-1B7F-45FC-9539-32E46EF97D1D}" vid="{7C9CEDD5-69B6-42F0-BA25-9D785B0AD554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RANIKOS-2024-DE</Template>
  <TotalTime>0</TotalTime>
  <Words>2032</Words>
  <Application>Microsoft Office PowerPoint</Application>
  <PresentationFormat>Benutzerdefiniert</PresentationFormat>
  <Paragraphs>276</Paragraphs>
  <Slides>22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6" baseType="lpstr">
      <vt:lpstr>Symbol</vt:lpstr>
      <vt:lpstr>Calibri Light</vt:lpstr>
      <vt:lpstr>Microsoft YaHei</vt:lpstr>
      <vt:lpstr>Aptos Mono</vt:lpstr>
      <vt:lpstr>Arial</vt:lpstr>
      <vt:lpstr>Aptos Light</vt:lpstr>
      <vt:lpstr>Wingdings</vt:lpstr>
      <vt:lpstr>Aptos</vt:lpstr>
      <vt:lpstr>Aptos ExtraBold</vt:lpstr>
      <vt:lpstr>PRESENTATIONLOAD</vt:lpstr>
      <vt:lpstr>2_PRESENTATIONLOAD</vt:lpstr>
      <vt:lpstr>1_PRESENTATIONLOAD</vt:lpstr>
      <vt:lpstr>Office</vt:lpstr>
      <vt:lpstr>think-cell Slide</vt:lpstr>
      <vt:lpstr>B2B Guest Accounts</vt:lpstr>
      <vt:lpstr>B2B Guest Accounts</vt:lpstr>
      <vt:lpstr>Prerequisites for the scenario</vt:lpstr>
      <vt:lpstr>B2B Use-Case</vt:lpstr>
      <vt:lpstr>B2B Use-Case</vt:lpstr>
      <vt:lpstr>What happens technically?</vt:lpstr>
      <vt:lpstr>B2B Account – Step 1</vt:lpstr>
      <vt:lpstr>B2B Account – Step 2</vt:lpstr>
      <vt:lpstr>So far so good  But what happens if primary email address and user principal name are not identical?</vt:lpstr>
      <vt:lpstr>B2B Account – Step 1</vt:lpstr>
      <vt:lpstr>B2B Account – Step 2</vt:lpstr>
      <vt:lpstr>Email Flow</vt:lpstr>
      <vt:lpstr>Where The Fun Begins</vt:lpstr>
      <vt:lpstr>B2B Account – Domain Change – Step 1</vt:lpstr>
      <vt:lpstr>B2B Account – Domain Change – Step 2</vt:lpstr>
      <vt:lpstr>B2B Account – Domain Change – Step 3</vt:lpstr>
      <vt:lpstr>B2B Account – Domain Change – Step 4</vt:lpstr>
      <vt:lpstr>Email Flow</vt:lpstr>
      <vt:lpstr>Email Flow</vt:lpstr>
      <vt:lpstr>Summary</vt:lpstr>
      <vt:lpstr>Questions?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365 Community at Sea</dc:title>
  <dc:creator>Thomas Stensitzki</dc:creator>
  <cp:keywords/>
  <dc:description/>
  <cp:lastModifiedBy>Thomas Stensitzki</cp:lastModifiedBy>
  <cp:revision>1</cp:revision>
  <dcterms:created xsi:type="dcterms:W3CDTF">2024-01-18T07:55:37Z</dcterms:created>
  <dcterms:modified xsi:type="dcterms:W3CDTF">2024-01-30T09:30:2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4875162-8acd-4f3f-a947-f425434600e9_Enabled">
    <vt:lpwstr>true</vt:lpwstr>
  </property>
  <property fmtid="{D5CDD505-2E9C-101B-9397-08002B2CF9AE}" pid="3" name="MSIP_Label_34875162-8acd-4f3f-a947-f425434600e9_SetDate">
    <vt:lpwstr>2024-01-18T07:57:16Z</vt:lpwstr>
  </property>
  <property fmtid="{D5CDD505-2E9C-101B-9397-08002B2CF9AE}" pid="4" name="MSIP_Label_34875162-8acd-4f3f-a947-f425434600e9_Method">
    <vt:lpwstr>Privileged</vt:lpwstr>
  </property>
  <property fmtid="{D5CDD505-2E9C-101B-9397-08002B2CF9AE}" pid="5" name="MSIP_Label_34875162-8acd-4f3f-a947-f425434600e9_Name">
    <vt:lpwstr>34875162-8acd-4f3f-a947-f425434600e9</vt:lpwstr>
  </property>
  <property fmtid="{D5CDD505-2E9C-101B-9397-08002B2CF9AE}" pid="6" name="MSIP_Label_34875162-8acd-4f3f-a947-f425434600e9_SiteId">
    <vt:lpwstr>e59e7a4b-3835-4d2a-bb49-9af9d71d051d</vt:lpwstr>
  </property>
  <property fmtid="{D5CDD505-2E9C-101B-9397-08002B2CF9AE}" pid="7" name="MSIP_Label_34875162-8acd-4f3f-a947-f425434600e9_ActionId">
    <vt:lpwstr>15e3096b-2944-4117-aecb-76806610068b</vt:lpwstr>
  </property>
  <property fmtid="{D5CDD505-2E9C-101B-9397-08002B2CF9AE}" pid="8" name="MSIP_Label_34875162-8acd-4f3f-a947-f425434600e9_ContentBits">
    <vt:lpwstr>0</vt:lpwstr>
  </property>
</Properties>
</file>